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2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charts/chart7.xml" ContentType="application/vnd.openxmlformats-officedocument.drawingml.chart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8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79" r:id="rId4"/>
    <p:sldId id="280" r:id="rId5"/>
    <p:sldId id="281" r:id="rId6"/>
    <p:sldId id="282" r:id="rId7"/>
    <p:sldId id="283" r:id="rId8"/>
    <p:sldId id="284" r:id="rId9"/>
    <p:sldId id="262" r:id="rId10"/>
    <p:sldId id="263" r:id="rId11"/>
  </p:sldIdLst>
  <p:sldSz cx="12192000" cy="6858000"/>
  <p:notesSz cx="6858000" cy="9144000"/>
  <p:embeddedFontLst>
    <p:embeddedFont>
      <p:font typeface="Proxima Nova" panose="020B060402020202020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pos="1958" userDrawn="1">
          <p15:clr>
            <a:srgbClr val="A4A3A4"/>
          </p15:clr>
        </p15:guide>
      </p15:sldGuideLst>
    </p:ext>
    <p:ext uri="GoogleSlidesCustomDataVersion2">
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r:id="rId50" roundtripDataSignature="AMtx7mg6fnhCutI2GTcyokpv5tBn+OrzN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51"/>
    <a:srgbClr val="F093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60"/>
  </p:normalViewPr>
  <p:slideViewPr>
    <p:cSldViewPr snapToGrid="0">
      <p:cViewPr>
        <p:scale>
          <a:sx n="66" d="100"/>
          <a:sy n="66" d="100"/>
        </p:scale>
        <p:origin x="-60" y="852"/>
      </p:cViewPr>
      <p:guideLst>
        <p:guide orient="horz" pos="1139"/>
        <p:guide pos="19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50" Type="http://customschemas.google.com/relationships/presentationmetadata" Target="metadata"/><Relationship Id="rId55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10" Type="http://schemas.openxmlformats.org/officeDocument/2006/relationships/slide" Target="slides/slide9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tuhan Yelseli" userId="S::batuhan.yelseli@fintegral.com.tr::e1126a1f-d490-470b-80e9-57d2ed9dcaf7" providerId="AD" clId="Web-{A92382C0-02AA-E49F-54D1-DEDB00FFF024}"/>
    <pc:docChg chg="modSld">
      <pc:chgData name="Batuhan Yelseli" userId="S::batuhan.yelseli@fintegral.com.tr::e1126a1f-d490-470b-80e9-57d2ed9dcaf7" providerId="AD" clId="Web-{A92382C0-02AA-E49F-54D1-DEDB00FFF024}" dt="2024-12-06T10:01:56.600" v="604" actId="1076"/>
      <pc:docMkLst>
        <pc:docMk/>
      </pc:docMkLst>
      <pc:sldChg chg="modSp">
        <pc:chgData name="Batuhan Yelseli" userId="S::batuhan.yelseli@fintegral.com.tr::e1126a1f-d490-470b-80e9-57d2ed9dcaf7" providerId="AD" clId="Web-{A92382C0-02AA-E49F-54D1-DEDB00FFF024}" dt="2024-12-06T08:29:43.721" v="0" actId="1076"/>
        <pc:sldMkLst>
          <pc:docMk/>
          <pc:sldMk cId="0" sldId="257"/>
        </pc:sldMkLst>
        <pc:cxnChg chg="mod">
          <ac:chgData name="Batuhan Yelseli" userId="S::batuhan.yelseli@fintegral.com.tr::e1126a1f-d490-470b-80e9-57d2ed9dcaf7" providerId="AD" clId="Web-{A92382C0-02AA-E49F-54D1-DEDB00FFF024}" dt="2024-12-06T08:29:43.721" v="0" actId="1076"/>
          <ac:cxnSpMkLst>
            <pc:docMk/>
            <pc:sldMk cId="0" sldId="257"/>
            <ac:cxnSpMk id="11" creationId="{3001EE8E-F5BE-231D-6EA6-DB7BBDB86855}"/>
          </ac:cxnSpMkLst>
        </pc:cxnChg>
      </pc:sldChg>
      <pc:sldChg chg="addSp modSp">
        <pc:chgData name="Batuhan Yelseli" userId="S::batuhan.yelseli@fintegral.com.tr::e1126a1f-d490-470b-80e9-57d2ed9dcaf7" providerId="AD" clId="Web-{A92382C0-02AA-E49F-54D1-DEDB00FFF024}" dt="2024-12-06T08:35:30.903" v="101" actId="20577"/>
        <pc:sldMkLst>
          <pc:docMk/>
          <pc:sldMk cId="1122526701" sldId="268"/>
        </pc:sldMkLst>
        <pc:spChg chg="add mod">
          <ac:chgData name="Batuhan Yelseli" userId="S::batuhan.yelseli@fintegral.com.tr::e1126a1f-d490-470b-80e9-57d2ed9dcaf7" providerId="AD" clId="Web-{A92382C0-02AA-E49F-54D1-DEDB00FFF024}" dt="2024-12-06T08:34:52.542" v="93" actId="20577"/>
          <ac:spMkLst>
            <pc:docMk/>
            <pc:sldMk cId="1122526701" sldId="268"/>
            <ac:spMk id="5" creationId="{99DDF55E-91E3-A350-2EC7-73D9A2314120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5:30.903" v="101" actId="20577"/>
          <ac:spMkLst>
            <pc:docMk/>
            <pc:sldMk cId="1122526701" sldId="268"/>
            <ac:spMk id="6" creationId="{98BE2231-AF47-32B4-4272-64530E7F55A2}"/>
          </ac:spMkLst>
        </pc:spChg>
        <pc:picChg chg="add mod">
          <ac:chgData name="Batuhan Yelseli" userId="S::batuhan.yelseli@fintegral.com.tr::e1126a1f-d490-470b-80e9-57d2ed9dcaf7" providerId="AD" clId="Web-{A92382C0-02AA-E49F-54D1-DEDB00FFF024}" dt="2024-12-06T08:34:08.369" v="81" actId="1076"/>
          <ac:picMkLst>
            <pc:docMk/>
            <pc:sldMk cId="1122526701" sldId="268"/>
            <ac:picMk id="3" creationId="{6BA49D2D-CD86-4AFE-7766-6FAB6BCD9078}"/>
          </ac:picMkLst>
        </pc:picChg>
        <pc:picChg chg="add mod">
          <ac:chgData name="Batuhan Yelseli" userId="S::batuhan.yelseli@fintegral.com.tr::e1126a1f-d490-470b-80e9-57d2ed9dcaf7" providerId="AD" clId="Web-{A92382C0-02AA-E49F-54D1-DEDB00FFF024}" dt="2024-12-06T08:34:02.463" v="79" actId="1076"/>
          <ac:picMkLst>
            <pc:docMk/>
            <pc:sldMk cId="1122526701" sldId="268"/>
            <ac:picMk id="7" creationId="{AC9D47BC-5D0D-371D-08C3-7A9887600E04}"/>
          </ac:picMkLst>
        </pc:picChg>
      </pc:sldChg>
      <pc:sldChg chg="addSp modSp">
        <pc:chgData name="Batuhan Yelseli" userId="S::batuhan.yelseli@fintegral.com.tr::e1126a1f-d490-470b-80e9-57d2ed9dcaf7" providerId="AD" clId="Web-{A92382C0-02AA-E49F-54D1-DEDB00FFF024}" dt="2024-12-06T08:37:12.234" v="109" actId="1076"/>
        <pc:sldMkLst>
          <pc:docMk/>
          <pc:sldMk cId="2878824308" sldId="269"/>
        </pc:sldMkLst>
        <pc:spChg chg="mod">
          <ac:chgData name="Batuhan Yelseli" userId="S::batuhan.yelseli@fintegral.com.tr::e1126a1f-d490-470b-80e9-57d2ed9dcaf7" providerId="AD" clId="Web-{A92382C0-02AA-E49F-54D1-DEDB00FFF024}" dt="2024-12-06T08:37:04.218" v="106" actId="20577"/>
          <ac:spMkLst>
            <pc:docMk/>
            <pc:sldMk cId="2878824308" sldId="269"/>
            <ac:spMk id="6" creationId="{D6C4CAB4-01CD-6207-8740-5ADB279F594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09.202" v="108" actId="1076"/>
          <ac:spMkLst>
            <pc:docMk/>
            <pc:sldMk cId="2878824308" sldId="269"/>
            <ac:spMk id="7" creationId="{D3E8EA87-270D-20D7-027E-F5580FF5C0F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12.234" v="109" actId="1076"/>
          <ac:spMkLst>
            <pc:docMk/>
            <pc:sldMk cId="2878824308" sldId="269"/>
            <ac:spMk id="9" creationId="{3B261800-B3BD-FA5E-63B5-288A81F51A41}"/>
          </ac:spMkLst>
        </pc:spChg>
        <pc:picChg chg="add mod">
          <ac:chgData name="Batuhan Yelseli" userId="S::batuhan.yelseli@fintegral.com.tr::e1126a1f-d490-470b-80e9-57d2ed9dcaf7" providerId="AD" clId="Web-{A92382C0-02AA-E49F-54D1-DEDB00FFF024}" dt="2024-12-06T08:37:06.468" v="107" actId="1076"/>
          <ac:picMkLst>
            <pc:docMk/>
            <pc:sldMk cId="2878824308" sldId="269"/>
            <ac:picMk id="3" creationId="{1240CB1D-D06A-E3E9-9869-7A3E2BEBF55F}"/>
          </ac:picMkLst>
        </pc:picChg>
      </pc:sldChg>
      <pc:sldChg chg="modSp">
        <pc:chgData name="Batuhan Yelseli" userId="S::batuhan.yelseli@fintegral.com.tr::e1126a1f-d490-470b-80e9-57d2ed9dcaf7" providerId="AD" clId="Web-{A92382C0-02AA-E49F-54D1-DEDB00FFF024}" dt="2024-12-06T08:37:53.235" v="125" actId="1076"/>
        <pc:sldMkLst>
          <pc:docMk/>
          <pc:sldMk cId="1541300719" sldId="270"/>
        </pc:sldMkLst>
        <pc:spChg chg="mod">
          <ac:chgData name="Batuhan Yelseli" userId="S::batuhan.yelseli@fintegral.com.tr::e1126a1f-d490-470b-80e9-57d2ed9dcaf7" providerId="AD" clId="Web-{A92382C0-02AA-E49F-54D1-DEDB00FFF024}" dt="2024-12-06T08:37:22.078" v="110" actId="14100"/>
          <ac:spMkLst>
            <pc:docMk/>
            <pc:sldMk cId="1541300719" sldId="270"/>
            <ac:spMk id="4" creationId="{F9CE3DE9-3B1A-25F4-FD4A-AA2A25D9BE48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7:53.235" v="125" actId="1076"/>
          <ac:spMkLst>
            <pc:docMk/>
            <pc:sldMk cId="1541300719" sldId="270"/>
            <ac:spMk id="6" creationId="{20D491AA-92CD-4C9C-CFC7-6E7C4BC70299}"/>
          </ac:spMkLst>
        </pc:spChg>
      </pc:sldChg>
      <pc:sldChg chg="addSp modSp">
        <pc:chgData name="Batuhan Yelseli" userId="S::batuhan.yelseli@fintegral.com.tr::e1126a1f-d490-470b-80e9-57d2ed9dcaf7" providerId="AD" clId="Web-{A92382C0-02AA-E49F-54D1-DEDB00FFF024}" dt="2024-12-06T08:46:33.547" v="351" actId="20577"/>
        <pc:sldMkLst>
          <pc:docMk/>
          <pc:sldMk cId="1540078872" sldId="271"/>
        </pc:sldMkLst>
        <pc:spChg chg="add mod">
          <ac:chgData name="Batuhan Yelseli" userId="S::batuhan.yelseli@fintegral.com.tr::e1126a1f-d490-470b-80e9-57d2ed9dcaf7" providerId="AD" clId="Web-{A92382C0-02AA-E49F-54D1-DEDB00FFF024}" dt="2024-12-06T08:46:33.547" v="351" actId="20577"/>
          <ac:spMkLst>
            <pc:docMk/>
            <pc:sldMk cId="1540078872" sldId="271"/>
            <ac:spMk id="3" creationId="{F58FBC98-769B-6137-BAC2-E6889CA1533A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8:13.579" v="126" actId="1076"/>
          <ac:spMkLst>
            <pc:docMk/>
            <pc:sldMk cId="1540078872" sldId="271"/>
            <ac:spMk id="6" creationId="{EF4D42E7-5A5B-C786-19E2-6C0D5122BE5B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08:38:17.970" v="127" actId="1076"/>
          <ac:spMkLst>
            <pc:docMk/>
            <pc:sldMk cId="1540078872" sldId="271"/>
            <ac:spMk id="9" creationId="{2F4D2E5F-3390-294E-AE08-7DB3C82659F4}"/>
          </ac:spMkLst>
        </pc:spChg>
      </pc:sldChg>
      <pc:sldChg chg="addSp delSp modSp">
        <pc:chgData name="Batuhan Yelseli" userId="S::batuhan.yelseli@fintegral.com.tr::e1126a1f-d490-470b-80e9-57d2ed9dcaf7" providerId="AD" clId="Web-{A92382C0-02AA-E49F-54D1-DEDB00FFF024}" dt="2024-12-06T08:50:43.757" v="587"/>
        <pc:sldMkLst>
          <pc:docMk/>
          <pc:sldMk cId="3826332343" sldId="272"/>
        </pc:sldMkLst>
        <pc:graphicFrameChg chg="add del mod">
          <ac:chgData name="Batuhan Yelseli" userId="S::batuhan.yelseli@fintegral.com.tr::e1126a1f-d490-470b-80e9-57d2ed9dcaf7" providerId="AD" clId="Web-{A92382C0-02AA-E49F-54D1-DEDB00FFF024}" dt="2024-12-06T08:46:29.140" v="206"/>
          <ac:graphicFrameMkLst>
            <pc:docMk/>
            <pc:sldMk cId="3826332343" sldId="272"/>
            <ac:graphicFrameMk id="3" creationId="{BA1DE34E-2BA7-A523-B928-635475677594}"/>
          </ac:graphicFrameMkLst>
        </pc:graphicFrameChg>
        <pc:graphicFrameChg chg="add del mod modGraphic">
          <ac:chgData name="Batuhan Yelseli" userId="S::batuhan.yelseli@fintegral.com.tr::e1126a1f-d490-470b-80e9-57d2ed9dcaf7" providerId="AD" clId="Web-{A92382C0-02AA-E49F-54D1-DEDB00FFF024}" dt="2024-12-06T08:50:43.757" v="587"/>
          <ac:graphicFrameMkLst>
            <pc:docMk/>
            <pc:sldMk cId="3826332343" sldId="272"/>
            <ac:graphicFrameMk id="11" creationId="{D4E86906-139D-83A2-B5DD-E2BE29B5B7E8}"/>
          </ac:graphicFrameMkLst>
        </pc:graphicFrameChg>
      </pc:sldChg>
      <pc:sldChg chg="modSp">
        <pc:chgData name="Batuhan Yelseli" userId="S::batuhan.yelseli@fintegral.com.tr::e1126a1f-d490-470b-80e9-57d2ed9dcaf7" providerId="AD" clId="Web-{A92382C0-02AA-E49F-54D1-DEDB00FFF024}" dt="2024-12-06T10:01:56.600" v="604" actId="1076"/>
        <pc:sldMkLst>
          <pc:docMk/>
          <pc:sldMk cId="173792906" sldId="282"/>
        </pc:sldMkLst>
        <pc:spChg chg="mod">
          <ac:chgData name="Batuhan Yelseli" userId="S::batuhan.yelseli@fintegral.com.tr::e1126a1f-d490-470b-80e9-57d2ed9dcaf7" providerId="AD" clId="Web-{A92382C0-02AA-E49F-54D1-DEDB00FFF024}" dt="2024-12-06T10:01:37.303" v="600" actId="1076"/>
          <ac:spMkLst>
            <pc:docMk/>
            <pc:sldMk cId="173792906" sldId="282"/>
            <ac:spMk id="17" creationId="{89662DE6-4341-CDF2-B39E-79FEB5FFF5F9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56.600" v="604" actId="1076"/>
          <ac:spMkLst>
            <pc:docMk/>
            <pc:sldMk cId="173792906" sldId="282"/>
            <ac:spMk id="22" creationId="{28D9B5E8-8955-AAD7-B852-46635913F1CF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40" v="597" actId="1076"/>
          <ac:spMkLst>
            <pc:docMk/>
            <pc:sldMk cId="173792906" sldId="282"/>
            <ac:spMk id="23" creationId="{30954708-0DAB-0356-2C83-28A99F16B070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56" v="598" actId="1076"/>
          <ac:spMkLst>
            <pc:docMk/>
            <pc:sldMk cId="173792906" sldId="282"/>
            <ac:spMk id="24" creationId="{0EE67AC4-53A4-DAAB-AC16-1E206A55B678}"/>
          </ac:spMkLst>
        </pc:spChg>
        <pc:spChg chg="mod">
          <ac:chgData name="Batuhan Yelseli" userId="S::batuhan.yelseli@fintegral.com.tr::e1126a1f-d490-470b-80e9-57d2ed9dcaf7" providerId="AD" clId="Web-{A92382C0-02AA-E49F-54D1-DEDB00FFF024}" dt="2024-12-06T10:01:37.287" v="599" actId="1076"/>
          <ac:spMkLst>
            <pc:docMk/>
            <pc:sldMk cId="173792906" sldId="282"/>
            <ac:spMk id="26" creationId="{9B7FA586-2C05-8591-D029-3B25481E7444}"/>
          </ac:spMkLst>
        </pc:spChg>
        <pc:picChg chg="mod">
          <ac:chgData name="Batuhan Yelseli" userId="S::batuhan.yelseli@fintegral.com.tr::e1126a1f-d490-470b-80e9-57d2ed9dcaf7" providerId="AD" clId="Web-{A92382C0-02AA-E49F-54D1-DEDB00FFF024}" dt="2024-12-06T10:01:37.334" v="602" actId="1076"/>
          <ac:picMkLst>
            <pc:docMk/>
            <pc:sldMk cId="173792906" sldId="282"/>
            <ac:picMk id="6" creationId="{633FA63A-84EB-AF5C-A666-88D49D6AE4B5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193" v="594" actId="1076"/>
          <ac:picMkLst>
            <pc:docMk/>
            <pc:sldMk cId="173792906" sldId="282"/>
            <ac:picMk id="8" creationId="{8710B19A-9845-1F3B-1FA0-870AB7C8B318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209" v="595" actId="1076"/>
          <ac:picMkLst>
            <pc:docMk/>
            <pc:sldMk cId="173792906" sldId="282"/>
            <ac:picMk id="12" creationId="{8B365F46-BB10-7B4D-767A-ECE0DDBBE5BF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225" v="596" actId="1076"/>
          <ac:picMkLst>
            <pc:docMk/>
            <pc:sldMk cId="173792906" sldId="282"/>
            <ac:picMk id="16" creationId="{00109AB0-C54E-5DFC-B26C-A725305701C9}"/>
          </ac:picMkLst>
        </pc:picChg>
        <pc:picChg chg="mod">
          <ac:chgData name="Batuhan Yelseli" userId="S::batuhan.yelseli@fintegral.com.tr::e1126a1f-d490-470b-80e9-57d2ed9dcaf7" providerId="AD" clId="Web-{A92382C0-02AA-E49F-54D1-DEDB00FFF024}" dt="2024-12-06T10:01:37.350" v="603" actId="1076"/>
          <ac:picMkLst>
            <pc:docMk/>
            <pc:sldMk cId="173792906" sldId="282"/>
            <ac:picMk id="21" creationId="{F3B6D292-5F06-DDD6-B10E-E50930B55CCB}"/>
          </ac:picMkLst>
        </pc:picChg>
      </pc:sldChg>
    </pc:docChg>
  </pc:docChgLst>
  <pc:docChgLst>
    <pc:chgData name="Batuhan Yelseli" userId="e1126a1f-d490-470b-80e9-57d2ed9dcaf7" providerId="ADAL" clId="{B5532810-4962-4077-947D-87F9D59BCCE6}"/>
    <pc:docChg chg="undo custSel addSld delSld modSld modMainMaster">
      <pc:chgData name="Batuhan Yelseli" userId="e1126a1f-d490-470b-80e9-57d2ed9dcaf7" providerId="ADAL" clId="{B5532810-4962-4077-947D-87F9D59BCCE6}" dt="2024-12-04T11:19:38.381" v="132"/>
      <pc:docMkLst>
        <pc:docMk/>
      </pc:docMkLst>
      <pc:sldChg chg="addSp delSp modSp mod">
        <pc:chgData name="Batuhan Yelseli" userId="e1126a1f-d490-470b-80e9-57d2ed9dcaf7" providerId="ADAL" clId="{B5532810-4962-4077-947D-87F9D59BCCE6}" dt="2024-12-04T11:19:10.638" v="68"/>
        <pc:sldMkLst>
          <pc:docMk/>
          <pc:sldMk cId="0" sldId="261"/>
        </pc:sldMkLst>
      </pc:sldChg>
      <pc:sldChg chg="new del">
        <pc:chgData name="Batuhan Yelseli" userId="e1126a1f-d490-470b-80e9-57d2ed9dcaf7" providerId="ADAL" clId="{B5532810-4962-4077-947D-87F9D59BCCE6}" dt="2024-12-04T11:19:08.778" v="59" actId="680"/>
        <pc:sldMkLst>
          <pc:docMk/>
          <pc:sldMk cId="1945874810" sldId="290"/>
        </pc:sldMkLst>
      </pc:sldChg>
      <pc:sldChg chg="addSp delSp modSp new mod">
        <pc:chgData name="Batuhan Yelseli" userId="e1126a1f-d490-470b-80e9-57d2ed9dcaf7" providerId="ADAL" clId="{B5532810-4962-4077-947D-87F9D59BCCE6}" dt="2024-12-04T11:19:38.381" v="132"/>
        <pc:sldMkLst>
          <pc:docMk/>
          <pc:sldMk cId="3193571855" sldId="290"/>
        </pc:sldMkLst>
        <pc:spChg chg="mod">
          <ac:chgData name="Batuhan Yelseli" userId="e1126a1f-d490-470b-80e9-57d2ed9dcaf7" providerId="ADAL" clId="{B5532810-4962-4077-947D-87F9D59BCCE6}" dt="2024-12-04T11:19:38.368" v="109" actId="948"/>
          <ac:spMkLst>
            <pc:docMk/>
            <pc:sldMk cId="3193571855" sldId="290"/>
            <ac:spMk id="2" creationId="{6231ADF8-D8A5-CEF5-9CA7-03538B0DD22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4" creationId="{9F825A32-7833-6BAF-CBF3-478088D11CB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5" creationId="{AB4570C8-B58F-3A08-E966-C1C61B2183DB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6" creationId="{91F0DBAA-FDD0-7DC2-FD19-967F91B0ACAD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7" creationId="{7DF7B0CD-57E2-4259-08A9-961F59D486AD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8" creationId="{2EDD5668-E916-E4EC-8956-ED95FA788DE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9" creationId="{7FFEBE5F-8FBF-91F7-DFCB-611627BADE67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0" creationId="{008FE103-D2F6-AE43-6A71-DA37069F6EF5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1" creationId="{804BC8A2-D903-66B7-1BEA-53952B948CF1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2" creationId="{6D1EA027-2196-67B9-99A9-35EFFB445A8E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3" creationId="{CDD4F34F-8B1E-DB46-46F1-D64A6ABA9B73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4" creationId="{672275E0-BF61-762B-6F8A-DEB31DA8F0D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5" creationId="{2D887A58-A5E7-87DE-7A3A-478A0F015F7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7" creationId="{047CFC0B-3DC6-CAAE-0FBD-B2C3CC84BACE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19" creationId="{00EA7435-460C-448D-0483-5F0F0029C090}"/>
          </ac:spMkLst>
        </pc:spChg>
        <pc:spChg chg="add mod">
          <ac:chgData name="Batuhan Yelseli" userId="e1126a1f-d490-470b-80e9-57d2ed9dcaf7" providerId="ADAL" clId="{B5532810-4962-4077-947D-87F9D59BCCE6}" dt="2024-12-04T11:19:30.604" v="70"/>
          <ac:spMkLst>
            <pc:docMk/>
            <pc:sldMk cId="3193571855" sldId="290"/>
            <ac:spMk id="20" creationId="{DABE8333-3AD4-FC21-FEA8-8633F3D45F67}"/>
          </ac:spMkLst>
        </pc:spChg>
        <pc:graphicFrameChg chg="add mod ord modVis">
          <ac:chgData name="Batuhan Yelseli" userId="e1126a1f-d490-470b-80e9-57d2ed9dcaf7" providerId="ADAL" clId="{B5532810-4962-4077-947D-87F9D59BCCE6}" dt="2024-12-04T11:19:38.381" v="132"/>
          <ac:graphicFrameMkLst>
            <pc:docMk/>
            <pc:sldMk cId="3193571855" sldId="290"/>
            <ac:graphicFrameMk id="22" creationId="{E921E7B9-6D29-C4E7-BC34-7F310B85C08D}"/>
          </ac:graphicFrameMkLst>
        </pc:graphicFrameChg>
        <pc:cxnChg chg="add mod">
          <ac:chgData name="Batuhan Yelseli" userId="e1126a1f-d490-470b-80e9-57d2ed9dcaf7" providerId="ADAL" clId="{B5532810-4962-4077-947D-87F9D59BCCE6}" dt="2024-12-04T11:19:30.604" v="70"/>
          <ac:cxnSpMkLst>
            <pc:docMk/>
            <pc:sldMk cId="3193571855" sldId="290"/>
            <ac:cxnSpMk id="3" creationId="{7B854B94-A5AB-3EE2-F538-B7274FF31BD2}"/>
          </ac:cxnSpMkLst>
        </pc:cxnChg>
      </pc:sldChg>
      <pc:sldMasterChg chg="modSldLayout">
        <pc:chgData name="Batuhan Yelseli" userId="e1126a1f-d490-470b-80e9-57d2ed9dcaf7" providerId="ADAL" clId="{B5532810-4962-4077-947D-87F9D59BCCE6}" dt="2024-12-04T11:18:51.144" v="43"/>
        <pc:sldMasterMkLst>
          <pc:docMk/>
          <pc:sldMasterMk cId="0" sldId="2147483648"/>
        </pc:sldMasterMkLst>
        <pc:sldLayoutChg chg="addSp modSp mod">
          <pc:chgData name="Batuhan Yelseli" userId="e1126a1f-d490-470b-80e9-57d2ed9dcaf7" providerId="ADAL" clId="{B5532810-4962-4077-947D-87F9D59BCCE6}" dt="2024-12-04T11:18:51.144" v="43"/>
          <pc:sldLayoutMkLst>
            <pc:docMk/>
            <pc:sldMasterMk cId="0" sldId="2147483648"/>
            <pc:sldLayoutMk cId="0" sldId="2147483652"/>
          </pc:sldLayoutMkLst>
          <pc:spChg chg="mod">
            <ac:chgData name="Batuhan Yelseli" userId="e1126a1f-d490-470b-80e9-57d2ed9dcaf7" providerId="ADAL" clId="{B5532810-4962-4077-947D-87F9D59BCCE6}" dt="2024-12-04T11:18:50.626" v="41" actId="1035"/>
            <ac:spMkLst>
              <pc:docMk/>
              <pc:sldMasterMk cId="0" sldId="2147483648"/>
              <pc:sldLayoutMk cId="0" sldId="2147483652"/>
              <ac:spMk id="23" creationId="{00000000-0000-0000-0000-000000000000}"/>
            </ac:spMkLst>
          </pc:spChg>
          <pc:graphicFrameChg chg="add mod ord modVis">
            <ac:chgData name="Batuhan Yelseli" userId="e1126a1f-d490-470b-80e9-57d2ed9dcaf7" providerId="ADAL" clId="{B5532810-4962-4077-947D-87F9D59BCCE6}" dt="2024-12-04T11:18:51.144" v="43"/>
            <ac:graphicFrameMkLst>
              <pc:docMk/>
              <pc:sldMasterMk cId="0" sldId="2147483648"/>
              <pc:sldLayoutMk cId="0" sldId="2147483652"/>
              <ac:graphicFrameMk id="2" creationId="{64780306-8FDB-37DB-CC83-A9D3E550B99E}"/>
            </ac:graphicFrameMkLst>
          </pc:graphicFrameChg>
        </pc:sldLayoutChg>
      </pc:sldMasterChg>
    </pc:docChg>
  </pc:docChgLst>
  <pc:docChgLst>
    <pc:chgData name="Oğuz Öztekin" userId="33c0df0f-d5fe-4bda-8f43-141ad7af67e3" providerId="ADAL" clId="{48B824AD-1B2A-47A8-8D92-6FE6E622A650}"/>
    <pc:docChg chg="undo redo custSel addSld delSld modSld sldOrd">
      <pc:chgData name="Oğuz Öztekin" userId="33c0df0f-d5fe-4bda-8f43-141ad7af67e3" providerId="ADAL" clId="{48B824AD-1B2A-47A8-8D92-6FE6E622A650}" dt="2024-12-16T11:22:34.938" v="53140"/>
      <pc:docMkLst>
        <pc:docMk/>
      </pc:docMkLst>
      <pc:sldChg chg="del">
        <pc:chgData name="Oğuz Öztekin" userId="33c0df0f-d5fe-4bda-8f43-141ad7af67e3" providerId="ADAL" clId="{48B824AD-1B2A-47A8-8D92-6FE6E622A650}" dt="2024-12-16T11:06:08.814" v="44525" actId="47"/>
        <pc:sldMkLst>
          <pc:docMk/>
          <pc:sldMk cId="0" sldId="258"/>
        </pc:sldMkLst>
      </pc:sldChg>
      <pc:sldChg chg="del">
        <pc:chgData name="Oğuz Öztekin" userId="33c0df0f-d5fe-4bda-8f43-141ad7af67e3" providerId="ADAL" clId="{48B824AD-1B2A-47A8-8D92-6FE6E622A650}" dt="2024-12-16T09:07:14.023" v="0" actId="2696"/>
        <pc:sldMkLst>
          <pc:docMk/>
          <pc:sldMk cId="0" sldId="259"/>
        </pc:sldMkLst>
      </pc:sldChg>
      <pc:sldChg chg="del">
        <pc:chgData name="Oğuz Öztekin" userId="33c0df0f-d5fe-4bda-8f43-141ad7af67e3" providerId="ADAL" clId="{48B824AD-1B2A-47A8-8D92-6FE6E622A650}" dt="2024-12-16T11:06:10.011" v="44526" actId="47"/>
        <pc:sldMkLst>
          <pc:docMk/>
          <pc:sldMk cId="0" sldId="260"/>
        </pc:sldMkLst>
      </pc:sldChg>
      <pc:sldChg chg="del">
        <pc:chgData name="Oğuz Öztekin" userId="33c0df0f-d5fe-4bda-8f43-141ad7af67e3" providerId="ADAL" clId="{48B824AD-1B2A-47A8-8D92-6FE6E622A650}" dt="2024-12-16T09:07:17.621" v="2" actId="2696"/>
        <pc:sldMkLst>
          <pc:docMk/>
          <pc:sldMk cId="1507332737" sldId="264"/>
        </pc:sldMkLst>
      </pc:sldChg>
      <pc:sldChg chg="del">
        <pc:chgData name="Oğuz Öztekin" userId="33c0df0f-d5fe-4bda-8f43-141ad7af67e3" providerId="ADAL" clId="{48B824AD-1B2A-47A8-8D92-6FE6E622A650}" dt="2024-12-16T09:07:18.507" v="3" actId="2696"/>
        <pc:sldMkLst>
          <pc:docMk/>
          <pc:sldMk cId="3866243125" sldId="265"/>
        </pc:sldMkLst>
      </pc:sldChg>
      <pc:sldChg chg="del">
        <pc:chgData name="Oğuz Öztekin" userId="33c0df0f-d5fe-4bda-8f43-141ad7af67e3" providerId="ADAL" clId="{48B824AD-1B2A-47A8-8D92-6FE6E622A650}" dt="2024-12-16T09:07:32.335" v="17" actId="2696"/>
        <pc:sldMkLst>
          <pc:docMk/>
          <pc:sldMk cId="181281364" sldId="266"/>
        </pc:sldMkLst>
      </pc:sldChg>
      <pc:sldChg chg="del">
        <pc:chgData name="Oğuz Öztekin" userId="33c0df0f-d5fe-4bda-8f43-141ad7af67e3" providerId="ADAL" clId="{48B824AD-1B2A-47A8-8D92-6FE6E622A650}" dt="2024-12-16T09:07:33.713" v="22" actId="2696"/>
        <pc:sldMkLst>
          <pc:docMk/>
          <pc:sldMk cId="82166624" sldId="267"/>
        </pc:sldMkLst>
      </pc:sldChg>
      <pc:sldChg chg="del">
        <pc:chgData name="Oğuz Öztekin" userId="33c0df0f-d5fe-4bda-8f43-141ad7af67e3" providerId="ADAL" clId="{48B824AD-1B2A-47A8-8D92-6FE6E622A650}" dt="2024-12-16T09:07:33.992" v="23" actId="2696"/>
        <pc:sldMkLst>
          <pc:docMk/>
          <pc:sldMk cId="1122526701" sldId="268"/>
        </pc:sldMkLst>
      </pc:sldChg>
      <pc:sldChg chg="del">
        <pc:chgData name="Oğuz Öztekin" userId="33c0df0f-d5fe-4bda-8f43-141ad7af67e3" providerId="ADAL" clId="{48B824AD-1B2A-47A8-8D92-6FE6E622A650}" dt="2024-12-16T09:07:34.287" v="24" actId="2696"/>
        <pc:sldMkLst>
          <pc:docMk/>
          <pc:sldMk cId="2878824308" sldId="269"/>
        </pc:sldMkLst>
      </pc:sldChg>
      <pc:sldChg chg="del">
        <pc:chgData name="Oğuz Öztekin" userId="33c0df0f-d5fe-4bda-8f43-141ad7af67e3" providerId="ADAL" clId="{48B824AD-1B2A-47A8-8D92-6FE6E622A650}" dt="2024-12-16T09:07:34.551" v="25" actId="2696"/>
        <pc:sldMkLst>
          <pc:docMk/>
          <pc:sldMk cId="1541300719" sldId="270"/>
        </pc:sldMkLst>
      </pc:sldChg>
      <pc:sldChg chg="del">
        <pc:chgData name="Oğuz Öztekin" userId="33c0df0f-d5fe-4bda-8f43-141ad7af67e3" providerId="ADAL" clId="{48B824AD-1B2A-47A8-8D92-6FE6E622A650}" dt="2024-12-16T09:07:34.815" v="26" actId="2696"/>
        <pc:sldMkLst>
          <pc:docMk/>
          <pc:sldMk cId="1540078872" sldId="271"/>
        </pc:sldMkLst>
      </pc:sldChg>
      <pc:sldChg chg="del">
        <pc:chgData name="Oğuz Öztekin" userId="33c0df0f-d5fe-4bda-8f43-141ad7af67e3" providerId="ADAL" clId="{48B824AD-1B2A-47A8-8D92-6FE6E622A650}" dt="2024-12-16T09:07:35.087" v="27" actId="2696"/>
        <pc:sldMkLst>
          <pc:docMk/>
          <pc:sldMk cId="3826332343" sldId="272"/>
        </pc:sldMkLst>
      </pc:sldChg>
      <pc:sldChg chg="del">
        <pc:chgData name="Oğuz Öztekin" userId="33c0df0f-d5fe-4bda-8f43-141ad7af67e3" providerId="ADAL" clId="{48B824AD-1B2A-47A8-8D92-6FE6E622A650}" dt="2024-12-16T09:07:35.324" v="28" actId="2696"/>
        <pc:sldMkLst>
          <pc:docMk/>
          <pc:sldMk cId="3259337092" sldId="273"/>
        </pc:sldMkLst>
      </pc:sldChg>
      <pc:sldChg chg="del">
        <pc:chgData name="Oğuz Öztekin" userId="33c0df0f-d5fe-4bda-8f43-141ad7af67e3" providerId="ADAL" clId="{48B824AD-1B2A-47A8-8D92-6FE6E622A650}" dt="2024-12-16T09:07:35.591" v="29" actId="2696"/>
        <pc:sldMkLst>
          <pc:docMk/>
          <pc:sldMk cId="733251670" sldId="274"/>
        </pc:sldMkLst>
      </pc:sldChg>
      <pc:sldChg chg="del">
        <pc:chgData name="Oğuz Öztekin" userId="33c0df0f-d5fe-4bda-8f43-141ad7af67e3" providerId="ADAL" clId="{48B824AD-1B2A-47A8-8D92-6FE6E622A650}" dt="2024-12-16T09:07:35.914" v="30" actId="2696"/>
        <pc:sldMkLst>
          <pc:docMk/>
          <pc:sldMk cId="2383931753" sldId="275"/>
        </pc:sldMkLst>
      </pc:sldChg>
      <pc:sldChg chg="del">
        <pc:chgData name="Oğuz Öztekin" userId="33c0df0f-d5fe-4bda-8f43-141ad7af67e3" providerId="ADAL" clId="{48B824AD-1B2A-47A8-8D92-6FE6E622A650}" dt="2024-12-16T09:07:36.293" v="31" actId="2696"/>
        <pc:sldMkLst>
          <pc:docMk/>
          <pc:sldMk cId="1692785580" sldId="276"/>
        </pc:sldMkLst>
      </pc:sldChg>
      <pc:sldChg chg="del">
        <pc:chgData name="Oğuz Öztekin" userId="33c0df0f-d5fe-4bda-8f43-141ad7af67e3" providerId="ADAL" clId="{48B824AD-1B2A-47A8-8D92-6FE6E622A650}" dt="2024-12-16T09:07:36.594" v="32" actId="2696"/>
        <pc:sldMkLst>
          <pc:docMk/>
          <pc:sldMk cId="965457765" sldId="277"/>
        </pc:sldMkLst>
      </pc:sldChg>
      <pc:sldChg chg="del">
        <pc:chgData name="Oğuz Öztekin" userId="33c0df0f-d5fe-4bda-8f43-141ad7af67e3" providerId="ADAL" clId="{48B824AD-1B2A-47A8-8D92-6FE6E622A650}" dt="2024-12-16T09:07:36.988" v="33" actId="2696"/>
        <pc:sldMkLst>
          <pc:docMk/>
          <pc:sldMk cId="2403856464" sldId="278"/>
        </pc:sldMkLst>
      </pc:sldChg>
      <pc:sldChg chg="addSp delSp modSp mod ord">
        <pc:chgData name="Oğuz Öztekin" userId="33c0df0f-d5fe-4bda-8f43-141ad7af67e3" providerId="ADAL" clId="{48B824AD-1B2A-47A8-8D92-6FE6E622A650}" dt="2024-12-16T09:21:02.881" v="26003"/>
        <pc:sldMkLst>
          <pc:docMk/>
          <pc:sldMk cId="865606007" sldId="279"/>
        </pc:sldMkLst>
        <pc:spChg chg="mod ord">
          <ac:chgData name="Oğuz Öztekin" userId="33c0df0f-d5fe-4bda-8f43-141ad7af67e3" providerId="ADAL" clId="{48B824AD-1B2A-47A8-8D92-6FE6E622A650}" dt="2024-12-16T09:21:02.871" v="25965"/>
          <ac:spMkLst>
            <pc:docMk/>
            <pc:sldMk cId="865606007" sldId="279"/>
            <ac:spMk id="2" creationId="{00877133-0E9A-69CF-2FAE-FB2A3737F156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4" creationId="{38DD05A3-C124-C8C0-11A3-CB08A7634708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5" creationId="{F8FC18A7-339E-CF43-32CE-6439B283735C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7" creationId="{C3CD908B-1EBE-8449-BDAC-2F31AD5F7C2B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8" creationId="{475EAD81-B98B-7764-BB29-4F275B1F24CF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9" creationId="{7DCA9FB9-2D5C-1AEF-41C2-D76AC174D328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0" creationId="{F3FCB77A-55C7-18DD-2B15-ADF2F52F8B32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1" creationId="{D09CF111-B296-39B0-492D-E1DC04BF1883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2" creationId="{67BFD08D-46FA-E268-AE56-3044B084333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3" creationId="{F3A6F51C-2676-F2F5-2953-7EDBDA13FA94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4" creationId="{75B81D1A-9A87-4938-9C9B-5BAA38CDCDD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5" creationId="{27792BD1-7571-A669-6211-E3FA6DD43B51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6" creationId="{4AA8E4AE-8D6B-16DE-3429-CCF836499737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7" creationId="{700AEB80-7F5A-8BA4-8EF5-967C5ED57B4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8" creationId="{B5090CB9-9480-DDB7-3B61-54E103459FBE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19" creationId="{8E517B92-4C3F-827A-13F9-E04394549920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0" creationId="{90487A92-EFC4-A902-93DA-92B011FFBEF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1" creationId="{74856E13-CCD5-B892-9C54-21AF36E911FF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2" creationId="{23D614E9-B997-DD2C-0E1B-F82C1F5137B6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3" creationId="{AEF6D0C5-7AF0-CB53-E62D-DF08589F8494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4" creationId="{EDB33F95-73F1-8A61-F817-81F7C8C97739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25" creationId="{15CB74E9-D3DD-F893-A57B-A8385AE093D5}"/>
          </ac:spMkLst>
        </pc:spChg>
        <pc:spChg chg="del">
          <ac:chgData name="Oğuz Öztekin" userId="33c0df0f-d5fe-4bda-8f43-141ad7af67e3" providerId="ADAL" clId="{48B824AD-1B2A-47A8-8D92-6FE6E622A650}" dt="2024-12-16T09:07:47.993" v="36" actId="478"/>
          <ac:spMkLst>
            <pc:docMk/>
            <pc:sldMk cId="865606007" sldId="279"/>
            <ac:spMk id="30" creationId="{354B0E8F-6DDE-388E-5679-131E85BE6F68}"/>
          </ac:spMkLst>
        </pc:spChg>
        <pc:spChg chg="add del mod modVis">
          <ac:chgData name="Oğuz Öztekin" userId="33c0df0f-d5fe-4bda-8f43-141ad7af67e3" providerId="ADAL" clId="{48B824AD-1B2A-47A8-8D92-6FE6E622A650}" dt="2024-12-16T09:08:04.218" v="630"/>
          <ac:spMkLst>
            <pc:docMk/>
            <pc:sldMk cId="865606007" sldId="279"/>
            <ac:spMk id="31" creationId="{6752CA3A-19EB-74FE-6764-9C6577220BC7}"/>
          </ac:spMkLst>
        </pc:spChg>
        <pc:spChg chg="add del mod">
          <ac:chgData name="Oğuz Öztekin" userId="33c0df0f-d5fe-4bda-8f43-141ad7af67e3" providerId="ADAL" clId="{48B824AD-1B2A-47A8-8D92-6FE6E622A650}" dt="2024-12-16T09:17:24.772" v="17922"/>
          <ac:spMkLst>
            <pc:docMk/>
            <pc:sldMk cId="865606007" sldId="279"/>
            <ac:spMk id="32" creationId="{DD5D3F8E-4D94-3F77-70C3-5020CCD7DC8A}"/>
          </ac:spMkLst>
        </pc:spChg>
        <pc:spChg chg="add del mod">
          <ac:chgData name="Oğuz Öztekin" userId="33c0df0f-d5fe-4bda-8f43-141ad7af67e3" providerId="ADAL" clId="{48B824AD-1B2A-47A8-8D92-6FE6E622A650}" dt="2024-12-16T09:10:20.101" v="5788"/>
          <ac:spMkLst>
            <pc:docMk/>
            <pc:sldMk cId="865606007" sldId="279"/>
            <ac:spMk id="33" creationId="{D3D8896E-BC8D-CA86-CD58-FDD884C3D5D2}"/>
          </ac:spMkLst>
        </pc:spChg>
        <pc:spChg chg="add del mod">
          <ac:chgData name="Oğuz Öztekin" userId="33c0df0f-d5fe-4bda-8f43-141ad7af67e3" providerId="ADAL" clId="{48B824AD-1B2A-47A8-8D92-6FE6E622A650}" dt="2024-12-16T09:10:20.102" v="5790"/>
          <ac:spMkLst>
            <pc:docMk/>
            <pc:sldMk cId="865606007" sldId="279"/>
            <ac:spMk id="34" creationId="{B89552BA-23FC-5598-8131-269CAB2EA3CC}"/>
          </ac:spMkLst>
        </pc:spChg>
        <pc:spChg chg="add mod">
          <ac:chgData name="Oğuz Öztekin" userId="33c0df0f-d5fe-4bda-8f43-141ad7af67e3" providerId="ADAL" clId="{48B824AD-1B2A-47A8-8D92-6FE6E622A650}" dt="2024-12-16T09:21:02.872" v="25969"/>
          <ac:spMkLst>
            <pc:docMk/>
            <pc:sldMk cId="865606007" sldId="279"/>
            <ac:spMk id="35" creationId="{038E9C82-A4B7-58C3-6687-FB2E7EEE99E6}"/>
          </ac:spMkLst>
        </pc:spChg>
        <pc:spChg chg="add mod">
          <ac:chgData name="Oğuz Öztekin" userId="33c0df0f-d5fe-4bda-8f43-141ad7af67e3" providerId="ADAL" clId="{48B824AD-1B2A-47A8-8D92-6FE6E622A650}" dt="2024-12-16T09:21:02.872" v="25972"/>
          <ac:spMkLst>
            <pc:docMk/>
            <pc:sldMk cId="865606007" sldId="279"/>
            <ac:spMk id="36" creationId="{528F6AA9-AA56-B794-383C-E99BF71D8300}"/>
          </ac:spMkLst>
        </pc:spChg>
        <pc:spChg chg="add mod">
          <ac:chgData name="Oğuz Öztekin" userId="33c0df0f-d5fe-4bda-8f43-141ad7af67e3" providerId="ADAL" clId="{48B824AD-1B2A-47A8-8D92-6FE6E622A650}" dt="2024-12-16T09:21:02.873" v="25975"/>
          <ac:spMkLst>
            <pc:docMk/>
            <pc:sldMk cId="865606007" sldId="279"/>
            <ac:spMk id="37" creationId="{041B9E9C-7822-E12A-791F-057DBA376E81}"/>
          </ac:spMkLst>
        </pc:spChg>
        <pc:spChg chg="add del mod">
          <ac:chgData name="Oğuz Öztekin" userId="33c0df0f-d5fe-4bda-8f43-141ad7af67e3" providerId="ADAL" clId="{48B824AD-1B2A-47A8-8D92-6FE6E622A650}" dt="2024-12-16T09:10:13.628" v="5228"/>
          <ac:spMkLst>
            <pc:docMk/>
            <pc:sldMk cId="865606007" sldId="279"/>
            <ac:spMk id="38" creationId="{248E70F8-2E33-BFAF-B699-F299E2C3B50A}"/>
          </ac:spMkLst>
        </pc:spChg>
        <pc:spChg chg="add del mod">
          <ac:chgData name="Oğuz Öztekin" userId="33c0df0f-d5fe-4bda-8f43-141ad7af67e3" providerId="ADAL" clId="{48B824AD-1B2A-47A8-8D92-6FE6E622A650}" dt="2024-12-16T09:10:20.103" v="5791"/>
          <ac:spMkLst>
            <pc:docMk/>
            <pc:sldMk cId="865606007" sldId="279"/>
            <ac:spMk id="39" creationId="{CCD8BCD9-D740-BE77-18CD-B5BD57DBA273}"/>
          </ac:spMkLst>
        </pc:spChg>
        <pc:spChg chg="add del mod">
          <ac:chgData name="Oğuz Öztekin" userId="33c0df0f-d5fe-4bda-8f43-141ad7af67e3" providerId="ADAL" clId="{48B824AD-1B2A-47A8-8D92-6FE6E622A650}" dt="2024-12-16T09:10:15.498" v="5424"/>
          <ac:spMkLst>
            <pc:docMk/>
            <pc:sldMk cId="865606007" sldId="279"/>
            <ac:spMk id="40" creationId="{93A3971E-9691-AAE1-3E6A-3662E85234BF}"/>
          </ac:spMkLst>
        </pc:spChg>
        <pc:spChg chg="add del mod">
          <ac:chgData name="Oğuz Öztekin" userId="33c0df0f-d5fe-4bda-8f43-141ad7af67e3" providerId="ADAL" clId="{48B824AD-1B2A-47A8-8D92-6FE6E622A650}" dt="2024-12-16T09:10:20.099" v="5787"/>
          <ac:spMkLst>
            <pc:docMk/>
            <pc:sldMk cId="865606007" sldId="279"/>
            <ac:spMk id="43" creationId="{8EE605C1-396E-6E17-9752-389C6A6700A7}"/>
          </ac:spMkLst>
        </pc:spChg>
        <pc:spChg chg="add del mod">
          <ac:chgData name="Oğuz Öztekin" userId="33c0df0f-d5fe-4bda-8f43-141ad7af67e3" providerId="ADAL" clId="{48B824AD-1B2A-47A8-8D92-6FE6E622A650}" dt="2024-12-16T09:10:20.101" v="5789"/>
          <ac:spMkLst>
            <pc:docMk/>
            <pc:sldMk cId="865606007" sldId="279"/>
            <ac:spMk id="44" creationId="{4CCB52D7-83CE-4153-8BAD-79A72D0CE59C}"/>
          </ac:spMkLst>
        </pc:spChg>
        <pc:spChg chg="add del mod">
          <ac:chgData name="Oğuz Öztekin" userId="33c0df0f-d5fe-4bda-8f43-141ad7af67e3" providerId="ADAL" clId="{48B824AD-1B2A-47A8-8D92-6FE6E622A650}" dt="2024-12-16T09:09:18.009" v="3489"/>
          <ac:spMkLst>
            <pc:docMk/>
            <pc:sldMk cId="865606007" sldId="279"/>
            <ac:spMk id="45" creationId="{B30AD573-7A26-23A7-4674-0AF991B9F9B0}"/>
          </ac:spMkLst>
        </pc:spChg>
        <pc:spChg chg="add del mod">
          <ac:chgData name="Oğuz Öztekin" userId="33c0df0f-d5fe-4bda-8f43-141ad7af67e3" providerId="ADAL" clId="{48B824AD-1B2A-47A8-8D92-6FE6E622A650}" dt="2024-12-16T09:09:18.009" v="3491"/>
          <ac:spMkLst>
            <pc:docMk/>
            <pc:sldMk cId="865606007" sldId="279"/>
            <ac:spMk id="46" creationId="{C01CF7EA-D62E-C5B8-7F87-907A723883AA}"/>
          </ac:spMkLst>
        </pc:spChg>
        <pc:spChg chg="add del mod">
          <ac:chgData name="Oğuz Öztekin" userId="33c0df0f-d5fe-4bda-8f43-141ad7af67e3" providerId="ADAL" clId="{48B824AD-1B2A-47A8-8D92-6FE6E622A650}" dt="2024-12-16T09:09:18.011" v="3493"/>
          <ac:spMkLst>
            <pc:docMk/>
            <pc:sldMk cId="865606007" sldId="279"/>
            <ac:spMk id="47" creationId="{4F8B535A-3AC5-DB29-AAA1-AB6653B44AB6}"/>
          </ac:spMkLst>
        </pc:spChg>
        <pc:spChg chg="add del mod">
          <ac:chgData name="Oğuz Öztekin" userId="33c0df0f-d5fe-4bda-8f43-141ad7af67e3" providerId="ADAL" clId="{48B824AD-1B2A-47A8-8D92-6FE6E622A650}" dt="2024-12-16T09:09:18.012" v="3495"/>
          <ac:spMkLst>
            <pc:docMk/>
            <pc:sldMk cId="865606007" sldId="279"/>
            <ac:spMk id="48" creationId="{B315AFAC-0F49-456E-11E7-2F7D0921D3EE}"/>
          </ac:spMkLst>
        </pc:spChg>
        <pc:spChg chg="add del mod">
          <ac:chgData name="Oğuz Öztekin" userId="33c0df0f-d5fe-4bda-8f43-141ad7af67e3" providerId="ADAL" clId="{48B824AD-1B2A-47A8-8D92-6FE6E622A650}" dt="2024-12-16T09:09:18.012" v="3497"/>
          <ac:spMkLst>
            <pc:docMk/>
            <pc:sldMk cId="865606007" sldId="279"/>
            <ac:spMk id="49" creationId="{AD9682AD-478F-AF30-FEDF-B7AC69062E41}"/>
          </ac:spMkLst>
        </pc:spChg>
        <pc:spChg chg="add del mod">
          <ac:chgData name="Oğuz Öztekin" userId="33c0df0f-d5fe-4bda-8f43-141ad7af67e3" providerId="ADAL" clId="{48B824AD-1B2A-47A8-8D92-6FE6E622A650}" dt="2024-12-16T09:09:18.013" v="3499"/>
          <ac:spMkLst>
            <pc:docMk/>
            <pc:sldMk cId="865606007" sldId="279"/>
            <ac:spMk id="50" creationId="{D957C0D5-829B-2BC5-C137-C8120DF5168E}"/>
          </ac:spMkLst>
        </pc:spChg>
        <pc:spChg chg="add del mod">
          <ac:chgData name="Oğuz Öztekin" userId="33c0df0f-d5fe-4bda-8f43-141ad7af67e3" providerId="ADAL" clId="{48B824AD-1B2A-47A8-8D92-6FE6E622A650}" dt="2024-12-16T09:09:18.014" v="3501"/>
          <ac:spMkLst>
            <pc:docMk/>
            <pc:sldMk cId="865606007" sldId="279"/>
            <ac:spMk id="51" creationId="{8D507D0F-B0D3-20CC-28B9-9D411E95C456}"/>
          </ac:spMkLst>
        </pc:spChg>
        <pc:spChg chg="add del mod">
          <ac:chgData name="Oğuz Öztekin" userId="33c0df0f-d5fe-4bda-8f43-141ad7af67e3" providerId="ADAL" clId="{48B824AD-1B2A-47A8-8D92-6FE6E622A650}" dt="2024-12-16T09:09:18.015" v="3503"/>
          <ac:spMkLst>
            <pc:docMk/>
            <pc:sldMk cId="865606007" sldId="279"/>
            <ac:spMk id="52" creationId="{1825A75C-6D57-3B39-FF7A-F0762866C901}"/>
          </ac:spMkLst>
        </pc:spChg>
        <pc:spChg chg="add del mod">
          <ac:chgData name="Oğuz Öztekin" userId="33c0df0f-d5fe-4bda-8f43-141ad7af67e3" providerId="ADAL" clId="{48B824AD-1B2A-47A8-8D92-6FE6E622A650}" dt="2024-12-16T09:09:18.015" v="3505"/>
          <ac:spMkLst>
            <pc:docMk/>
            <pc:sldMk cId="865606007" sldId="279"/>
            <ac:spMk id="53" creationId="{26F3059F-02B7-38D5-9066-3E432C882CF0}"/>
          </ac:spMkLst>
        </pc:spChg>
        <pc:spChg chg="add del mod">
          <ac:chgData name="Oğuz Öztekin" userId="33c0df0f-d5fe-4bda-8f43-141ad7af67e3" providerId="ADAL" clId="{48B824AD-1B2A-47A8-8D92-6FE6E622A650}" dt="2024-12-16T09:09:18.016" v="3507"/>
          <ac:spMkLst>
            <pc:docMk/>
            <pc:sldMk cId="865606007" sldId="279"/>
            <ac:spMk id="54" creationId="{C7000466-0F1B-3A2B-7D35-120679B59DFE}"/>
          </ac:spMkLst>
        </pc:spChg>
        <pc:spChg chg="add del mod">
          <ac:chgData name="Oğuz Öztekin" userId="33c0df0f-d5fe-4bda-8f43-141ad7af67e3" providerId="ADAL" clId="{48B824AD-1B2A-47A8-8D92-6FE6E622A650}" dt="2024-12-16T09:09:18.017" v="3509"/>
          <ac:spMkLst>
            <pc:docMk/>
            <pc:sldMk cId="865606007" sldId="279"/>
            <ac:spMk id="55" creationId="{2952FFB1-DC94-ACE8-F3B0-A9CB6A35C0AE}"/>
          </ac:spMkLst>
        </pc:spChg>
        <pc:spChg chg="add del mod">
          <ac:chgData name="Oğuz Öztekin" userId="33c0df0f-d5fe-4bda-8f43-141ad7af67e3" providerId="ADAL" clId="{48B824AD-1B2A-47A8-8D92-6FE6E622A650}" dt="2024-12-16T09:09:18.017" v="3511"/>
          <ac:spMkLst>
            <pc:docMk/>
            <pc:sldMk cId="865606007" sldId="279"/>
            <ac:spMk id="56" creationId="{1F3B398F-AE42-65D6-9039-3F3665953A3B}"/>
          </ac:spMkLst>
        </pc:spChg>
        <pc:spChg chg="add del mod">
          <ac:chgData name="Oğuz Öztekin" userId="33c0df0f-d5fe-4bda-8f43-141ad7af67e3" providerId="ADAL" clId="{48B824AD-1B2A-47A8-8D92-6FE6E622A650}" dt="2024-12-16T09:09:18.018" v="3513"/>
          <ac:spMkLst>
            <pc:docMk/>
            <pc:sldMk cId="865606007" sldId="279"/>
            <ac:spMk id="57" creationId="{6E563BB5-36F0-1769-997F-20A0C6E2E314}"/>
          </ac:spMkLst>
        </pc:spChg>
        <pc:spChg chg="add del mod">
          <ac:chgData name="Oğuz Öztekin" userId="33c0df0f-d5fe-4bda-8f43-141ad7af67e3" providerId="ADAL" clId="{48B824AD-1B2A-47A8-8D92-6FE6E622A650}" dt="2024-12-16T09:09:18.020" v="3515"/>
          <ac:spMkLst>
            <pc:docMk/>
            <pc:sldMk cId="865606007" sldId="279"/>
            <ac:spMk id="58" creationId="{D345C14A-3904-D3D9-A1CC-EA7CABE09F5E}"/>
          </ac:spMkLst>
        </pc:spChg>
        <pc:spChg chg="add del mod">
          <ac:chgData name="Oğuz Öztekin" userId="33c0df0f-d5fe-4bda-8f43-141ad7af67e3" providerId="ADAL" clId="{48B824AD-1B2A-47A8-8D92-6FE6E622A650}" dt="2024-12-16T09:09:18.020" v="3517"/>
          <ac:spMkLst>
            <pc:docMk/>
            <pc:sldMk cId="865606007" sldId="279"/>
            <ac:spMk id="59" creationId="{AC9CD06C-3F8A-5802-4D52-AE642F62348D}"/>
          </ac:spMkLst>
        </pc:spChg>
        <pc:spChg chg="add del mod modVis">
          <ac:chgData name="Oğuz Öztekin" userId="33c0df0f-d5fe-4bda-8f43-141ad7af67e3" providerId="ADAL" clId="{48B824AD-1B2A-47A8-8D92-6FE6E622A650}" dt="2024-12-16T09:08:47.264" v="1658"/>
          <ac:spMkLst>
            <pc:docMk/>
            <pc:sldMk cId="865606007" sldId="279"/>
            <ac:spMk id="60" creationId="{89433828-6FED-F955-7708-2EDE850162D0}"/>
          </ac:spMkLst>
        </pc:spChg>
        <pc:spChg chg="add del mod">
          <ac:chgData name="Oğuz Öztekin" userId="33c0df0f-d5fe-4bda-8f43-141ad7af67e3" providerId="ADAL" clId="{48B824AD-1B2A-47A8-8D92-6FE6E622A650}" dt="2024-12-16T09:09:18.108" v="3613"/>
          <ac:spMkLst>
            <pc:docMk/>
            <pc:sldMk cId="865606007" sldId="279"/>
            <ac:spMk id="61" creationId="{139F6D4A-759C-C90E-CB91-320901E84303}"/>
          </ac:spMkLst>
        </pc:spChg>
        <pc:spChg chg="add del mod">
          <ac:chgData name="Oğuz Öztekin" userId="33c0df0f-d5fe-4bda-8f43-141ad7af67e3" providerId="ADAL" clId="{48B824AD-1B2A-47A8-8D92-6FE6E622A650}" dt="2024-12-16T09:09:18.107" v="3610"/>
          <ac:spMkLst>
            <pc:docMk/>
            <pc:sldMk cId="865606007" sldId="279"/>
            <ac:spMk id="62" creationId="{194157B3-8B5F-6D53-26EF-C60FADE8DA38}"/>
          </ac:spMkLst>
        </pc:spChg>
        <pc:spChg chg="add del mod ord">
          <ac:chgData name="Oğuz Öztekin" userId="33c0df0f-d5fe-4bda-8f43-141ad7af67e3" providerId="ADAL" clId="{48B824AD-1B2A-47A8-8D92-6FE6E622A650}" dt="2024-12-16T09:09:18.004" v="3473"/>
          <ac:spMkLst>
            <pc:docMk/>
            <pc:sldMk cId="865606007" sldId="279"/>
            <ac:spMk id="63" creationId="{DB0C8183-A036-C3AE-EABD-0457A12C5038}"/>
          </ac:spMkLst>
        </pc:spChg>
        <pc:spChg chg="add del mod ord">
          <ac:chgData name="Oğuz Öztekin" userId="33c0df0f-d5fe-4bda-8f43-141ad7af67e3" providerId="ADAL" clId="{48B824AD-1B2A-47A8-8D92-6FE6E622A650}" dt="2024-12-16T09:09:18.113" v="3625"/>
          <ac:spMkLst>
            <pc:docMk/>
            <pc:sldMk cId="865606007" sldId="279"/>
            <ac:spMk id="64" creationId="{6BA96DC5-3930-535B-1166-329BCCFC15F3}"/>
          </ac:spMkLst>
        </pc:spChg>
        <pc:spChg chg="add del mod ord">
          <ac:chgData name="Oğuz Öztekin" userId="33c0df0f-d5fe-4bda-8f43-141ad7af67e3" providerId="ADAL" clId="{48B824AD-1B2A-47A8-8D92-6FE6E622A650}" dt="2024-12-16T09:08:56.718" v="2560"/>
          <ac:spMkLst>
            <pc:docMk/>
            <pc:sldMk cId="865606007" sldId="279"/>
            <ac:spMk id="65" creationId="{CD402796-FEF5-95C3-1039-10C6A78F9ED8}"/>
          </ac:spMkLst>
        </pc:spChg>
        <pc:spChg chg="add del mod ord">
          <ac:chgData name="Oğuz Öztekin" userId="33c0df0f-d5fe-4bda-8f43-141ad7af67e3" providerId="ADAL" clId="{48B824AD-1B2A-47A8-8D92-6FE6E622A650}" dt="2024-12-16T09:09:18.117" v="3633"/>
          <ac:spMkLst>
            <pc:docMk/>
            <pc:sldMk cId="865606007" sldId="279"/>
            <ac:spMk id="66" creationId="{47ADA53B-CBEC-9154-59CA-619F9D5496FF}"/>
          </ac:spMkLst>
        </pc:spChg>
        <pc:spChg chg="add del mod ord">
          <ac:chgData name="Oğuz Öztekin" userId="33c0df0f-d5fe-4bda-8f43-141ad7af67e3" providerId="ADAL" clId="{48B824AD-1B2A-47A8-8D92-6FE6E622A650}" dt="2024-12-16T09:08:56.750" v="2625"/>
          <ac:spMkLst>
            <pc:docMk/>
            <pc:sldMk cId="865606007" sldId="279"/>
            <ac:spMk id="67" creationId="{FC7E7AC2-574D-F53A-A32F-0C27AF0914D4}"/>
          </ac:spMkLst>
        </pc:spChg>
        <pc:spChg chg="add del mod">
          <ac:chgData name="Oğuz Öztekin" userId="33c0df0f-d5fe-4bda-8f43-141ad7af67e3" providerId="ADAL" clId="{48B824AD-1B2A-47A8-8D92-6FE6E622A650}" dt="2024-12-16T09:09:18.008" v="3488"/>
          <ac:spMkLst>
            <pc:docMk/>
            <pc:sldMk cId="865606007" sldId="279"/>
            <ac:spMk id="71" creationId="{F94AE483-A91B-CDF8-54B2-C3B2BD24A0AC}"/>
          </ac:spMkLst>
        </pc:spChg>
        <pc:spChg chg="add del mod">
          <ac:chgData name="Oğuz Öztekin" userId="33c0df0f-d5fe-4bda-8f43-141ad7af67e3" providerId="ADAL" clId="{48B824AD-1B2A-47A8-8D92-6FE6E622A650}" dt="2024-12-16T09:09:18.009" v="3490"/>
          <ac:spMkLst>
            <pc:docMk/>
            <pc:sldMk cId="865606007" sldId="279"/>
            <ac:spMk id="72" creationId="{ABE4EF2D-208F-D8C4-4280-FA7C584914A2}"/>
          </ac:spMkLst>
        </pc:spChg>
        <pc:spChg chg="add del mod">
          <ac:chgData name="Oğuz Öztekin" userId="33c0df0f-d5fe-4bda-8f43-141ad7af67e3" providerId="ADAL" clId="{48B824AD-1B2A-47A8-8D92-6FE6E622A650}" dt="2024-12-16T09:09:18.010" v="3492"/>
          <ac:spMkLst>
            <pc:docMk/>
            <pc:sldMk cId="865606007" sldId="279"/>
            <ac:spMk id="73" creationId="{AA14FFBB-9D1C-9B50-F86C-A894BCB64036}"/>
          </ac:spMkLst>
        </pc:spChg>
        <pc:spChg chg="add del mod">
          <ac:chgData name="Oğuz Öztekin" userId="33c0df0f-d5fe-4bda-8f43-141ad7af67e3" providerId="ADAL" clId="{48B824AD-1B2A-47A8-8D92-6FE6E622A650}" dt="2024-12-16T09:09:18.011" v="3494"/>
          <ac:spMkLst>
            <pc:docMk/>
            <pc:sldMk cId="865606007" sldId="279"/>
            <ac:spMk id="74" creationId="{2C7AC821-B139-ABCC-18E4-2BBE7AF420F2}"/>
          </ac:spMkLst>
        </pc:spChg>
        <pc:spChg chg="add del mod">
          <ac:chgData name="Oğuz Öztekin" userId="33c0df0f-d5fe-4bda-8f43-141ad7af67e3" providerId="ADAL" clId="{48B824AD-1B2A-47A8-8D92-6FE6E622A650}" dt="2024-12-16T09:09:18.012" v="3496"/>
          <ac:spMkLst>
            <pc:docMk/>
            <pc:sldMk cId="865606007" sldId="279"/>
            <ac:spMk id="75" creationId="{EF5A4382-707C-E21E-0A93-B1EB3F138C29}"/>
          </ac:spMkLst>
        </pc:spChg>
        <pc:spChg chg="add del mod">
          <ac:chgData name="Oğuz Öztekin" userId="33c0df0f-d5fe-4bda-8f43-141ad7af67e3" providerId="ADAL" clId="{48B824AD-1B2A-47A8-8D92-6FE6E622A650}" dt="2024-12-16T09:09:18.013" v="3498"/>
          <ac:spMkLst>
            <pc:docMk/>
            <pc:sldMk cId="865606007" sldId="279"/>
            <ac:spMk id="76" creationId="{42E08713-AEC1-E52C-DC1A-D410B03CB958}"/>
          </ac:spMkLst>
        </pc:spChg>
        <pc:spChg chg="add del mod">
          <ac:chgData name="Oğuz Öztekin" userId="33c0df0f-d5fe-4bda-8f43-141ad7af67e3" providerId="ADAL" clId="{48B824AD-1B2A-47A8-8D92-6FE6E622A650}" dt="2024-12-16T09:09:18.014" v="3500"/>
          <ac:spMkLst>
            <pc:docMk/>
            <pc:sldMk cId="865606007" sldId="279"/>
            <ac:spMk id="77" creationId="{A27F2544-C424-2405-C66A-B1BAFBA502CE}"/>
          </ac:spMkLst>
        </pc:spChg>
        <pc:spChg chg="add del mod">
          <ac:chgData name="Oğuz Öztekin" userId="33c0df0f-d5fe-4bda-8f43-141ad7af67e3" providerId="ADAL" clId="{48B824AD-1B2A-47A8-8D92-6FE6E622A650}" dt="2024-12-16T09:09:18.014" v="3502"/>
          <ac:spMkLst>
            <pc:docMk/>
            <pc:sldMk cId="865606007" sldId="279"/>
            <ac:spMk id="78" creationId="{2314102B-F0FF-DDB5-365F-7992F17207BF}"/>
          </ac:spMkLst>
        </pc:spChg>
        <pc:spChg chg="add del mod">
          <ac:chgData name="Oğuz Öztekin" userId="33c0df0f-d5fe-4bda-8f43-141ad7af67e3" providerId="ADAL" clId="{48B824AD-1B2A-47A8-8D92-6FE6E622A650}" dt="2024-12-16T09:09:18.015" v="3504"/>
          <ac:spMkLst>
            <pc:docMk/>
            <pc:sldMk cId="865606007" sldId="279"/>
            <ac:spMk id="79" creationId="{1F5C31F2-E62B-1989-3494-3C9D83247EC0}"/>
          </ac:spMkLst>
        </pc:spChg>
        <pc:spChg chg="add del mod">
          <ac:chgData name="Oğuz Öztekin" userId="33c0df0f-d5fe-4bda-8f43-141ad7af67e3" providerId="ADAL" clId="{48B824AD-1B2A-47A8-8D92-6FE6E622A650}" dt="2024-12-16T09:09:18.016" v="3506"/>
          <ac:spMkLst>
            <pc:docMk/>
            <pc:sldMk cId="865606007" sldId="279"/>
            <ac:spMk id="80" creationId="{38840041-FF86-5483-ADBF-274E7FDA7248}"/>
          </ac:spMkLst>
        </pc:spChg>
        <pc:spChg chg="add del mod">
          <ac:chgData name="Oğuz Öztekin" userId="33c0df0f-d5fe-4bda-8f43-141ad7af67e3" providerId="ADAL" clId="{48B824AD-1B2A-47A8-8D92-6FE6E622A650}" dt="2024-12-16T09:09:18.016" v="3508"/>
          <ac:spMkLst>
            <pc:docMk/>
            <pc:sldMk cId="865606007" sldId="279"/>
            <ac:spMk id="81" creationId="{0FEB78A9-35BB-11A2-C629-27060BBC8DD1}"/>
          </ac:spMkLst>
        </pc:spChg>
        <pc:spChg chg="add del mod">
          <ac:chgData name="Oğuz Öztekin" userId="33c0df0f-d5fe-4bda-8f43-141ad7af67e3" providerId="ADAL" clId="{48B824AD-1B2A-47A8-8D92-6FE6E622A650}" dt="2024-12-16T09:09:18.017" v="3510"/>
          <ac:spMkLst>
            <pc:docMk/>
            <pc:sldMk cId="865606007" sldId="279"/>
            <ac:spMk id="82" creationId="{AAB924CB-4268-AAB4-2E14-EB7FB1C4797D}"/>
          </ac:spMkLst>
        </pc:spChg>
        <pc:spChg chg="add del mod">
          <ac:chgData name="Oğuz Öztekin" userId="33c0df0f-d5fe-4bda-8f43-141ad7af67e3" providerId="ADAL" clId="{48B824AD-1B2A-47A8-8D92-6FE6E622A650}" dt="2024-12-16T09:09:18.018" v="3512"/>
          <ac:spMkLst>
            <pc:docMk/>
            <pc:sldMk cId="865606007" sldId="279"/>
            <ac:spMk id="83" creationId="{4ED87781-409E-5F4C-2F16-8D89EB74E523}"/>
          </ac:spMkLst>
        </pc:spChg>
        <pc:spChg chg="add del mod">
          <ac:chgData name="Oğuz Öztekin" userId="33c0df0f-d5fe-4bda-8f43-141ad7af67e3" providerId="ADAL" clId="{48B824AD-1B2A-47A8-8D92-6FE6E622A650}" dt="2024-12-16T09:09:18.019" v="3514"/>
          <ac:spMkLst>
            <pc:docMk/>
            <pc:sldMk cId="865606007" sldId="279"/>
            <ac:spMk id="84" creationId="{EAC0E722-84E5-B546-5037-05C3B28D6866}"/>
          </ac:spMkLst>
        </pc:spChg>
        <pc:spChg chg="add del mod">
          <ac:chgData name="Oğuz Öztekin" userId="33c0df0f-d5fe-4bda-8f43-141ad7af67e3" providerId="ADAL" clId="{48B824AD-1B2A-47A8-8D92-6FE6E622A650}" dt="2024-12-16T09:09:18.020" v="3516"/>
          <ac:spMkLst>
            <pc:docMk/>
            <pc:sldMk cId="865606007" sldId="279"/>
            <ac:spMk id="85" creationId="{9478DE83-696D-6337-5162-090011359BE7}"/>
          </ac:spMkLst>
        </pc:spChg>
        <pc:spChg chg="add mod">
          <ac:chgData name="Oğuz Öztekin" userId="33c0df0f-d5fe-4bda-8f43-141ad7af67e3" providerId="ADAL" clId="{48B824AD-1B2A-47A8-8D92-6FE6E622A650}" dt="2024-12-16T09:21:02.874" v="25978"/>
          <ac:spMkLst>
            <pc:docMk/>
            <pc:sldMk cId="865606007" sldId="279"/>
            <ac:spMk id="86" creationId="{D0FCB533-6088-11FE-3394-86A1EE694C8E}"/>
          </ac:spMkLst>
        </pc:spChg>
        <pc:spChg chg="add mod">
          <ac:chgData name="Oğuz Öztekin" userId="33c0df0f-d5fe-4bda-8f43-141ad7af67e3" providerId="ADAL" clId="{48B824AD-1B2A-47A8-8D92-6FE6E622A650}" dt="2024-12-16T09:21:02.875" v="25981"/>
          <ac:spMkLst>
            <pc:docMk/>
            <pc:sldMk cId="865606007" sldId="279"/>
            <ac:spMk id="87" creationId="{4E76B921-8BA0-08DC-EC1C-A5A428D172E4}"/>
          </ac:spMkLst>
        </pc:spChg>
        <pc:spChg chg="add mod">
          <ac:chgData name="Oğuz Öztekin" userId="33c0df0f-d5fe-4bda-8f43-141ad7af67e3" providerId="ADAL" clId="{48B824AD-1B2A-47A8-8D92-6FE6E622A650}" dt="2024-12-16T09:21:02.876" v="25984"/>
          <ac:spMkLst>
            <pc:docMk/>
            <pc:sldMk cId="865606007" sldId="279"/>
            <ac:spMk id="88" creationId="{89451C56-0E80-70A0-4A24-7A1C59B4BABA}"/>
          </ac:spMkLst>
        </pc:spChg>
        <pc:spChg chg="add mod">
          <ac:chgData name="Oğuz Öztekin" userId="33c0df0f-d5fe-4bda-8f43-141ad7af67e3" providerId="ADAL" clId="{48B824AD-1B2A-47A8-8D92-6FE6E622A650}" dt="2024-12-16T09:21:02.877" v="25987"/>
          <ac:spMkLst>
            <pc:docMk/>
            <pc:sldMk cId="865606007" sldId="279"/>
            <ac:spMk id="89" creationId="{46C5B14F-F66C-575B-4B6B-F1CFFBF3CD5B}"/>
          </ac:spMkLst>
        </pc:spChg>
        <pc:spChg chg="add mod">
          <ac:chgData name="Oğuz Öztekin" userId="33c0df0f-d5fe-4bda-8f43-141ad7af67e3" providerId="ADAL" clId="{48B824AD-1B2A-47A8-8D92-6FE6E622A650}" dt="2024-12-16T09:21:02.877" v="25990"/>
          <ac:spMkLst>
            <pc:docMk/>
            <pc:sldMk cId="865606007" sldId="279"/>
            <ac:spMk id="90" creationId="{1E532F6A-44D2-41C8-48E8-77B62F230E8F}"/>
          </ac:spMkLst>
        </pc:spChg>
        <pc:spChg chg="add mod">
          <ac:chgData name="Oğuz Öztekin" userId="33c0df0f-d5fe-4bda-8f43-141ad7af67e3" providerId="ADAL" clId="{48B824AD-1B2A-47A8-8D92-6FE6E622A650}" dt="2024-12-16T09:21:02.878" v="25993"/>
          <ac:spMkLst>
            <pc:docMk/>
            <pc:sldMk cId="865606007" sldId="279"/>
            <ac:spMk id="91" creationId="{B8845E64-9530-3F5D-C78C-9077E9F465FC}"/>
          </ac:spMkLst>
        </pc:spChg>
        <pc:spChg chg="add mod">
          <ac:chgData name="Oğuz Öztekin" userId="33c0df0f-d5fe-4bda-8f43-141ad7af67e3" providerId="ADAL" clId="{48B824AD-1B2A-47A8-8D92-6FE6E622A650}" dt="2024-12-16T09:21:02.878" v="25996"/>
          <ac:spMkLst>
            <pc:docMk/>
            <pc:sldMk cId="865606007" sldId="279"/>
            <ac:spMk id="92" creationId="{0F383885-2383-3CDD-8753-28134366C8DB}"/>
          </ac:spMkLst>
        </pc:spChg>
        <pc:spChg chg="add del mod">
          <ac:chgData name="Oğuz Öztekin" userId="33c0df0f-d5fe-4bda-8f43-141ad7af67e3" providerId="ADAL" clId="{48B824AD-1B2A-47A8-8D92-6FE6E622A650}" dt="2024-12-16T09:09:06.116" v="2941"/>
          <ac:spMkLst>
            <pc:docMk/>
            <pc:sldMk cId="865606007" sldId="279"/>
            <ac:spMk id="93" creationId="{A0B36119-612D-4E70-9A2C-C36D02D7AB31}"/>
          </ac:spMkLst>
        </pc:spChg>
        <pc:spChg chg="add del mod">
          <ac:chgData name="Oğuz Öztekin" userId="33c0df0f-d5fe-4bda-8f43-141ad7af67e3" providerId="ADAL" clId="{48B824AD-1B2A-47A8-8D92-6FE6E622A650}" dt="2024-12-16T09:09:06.117" v="2942"/>
          <ac:spMkLst>
            <pc:docMk/>
            <pc:sldMk cId="865606007" sldId="279"/>
            <ac:spMk id="94" creationId="{396A22CD-2CC4-02AB-3324-BA11B6533093}"/>
          </ac:spMkLst>
        </pc:spChg>
        <pc:spChg chg="add del mod">
          <ac:chgData name="Oğuz Öztekin" userId="33c0df0f-d5fe-4bda-8f43-141ad7af67e3" providerId="ADAL" clId="{48B824AD-1B2A-47A8-8D92-6FE6E622A650}" dt="2024-12-16T09:09:06.118" v="2945"/>
          <ac:spMkLst>
            <pc:docMk/>
            <pc:sldMk cId="865606007" sldId="279"/>
            <ac:spMk id="95" creationId="{A2B8CA88-EF2D-7A78-8821-65558D6E513B}"/>
          </ac:spMkLst>
        </pc:spChg>
        <pc:spChg chg="add del mod">
          <ac:chgData name="Oğuz Öztekin" userId="33c0df0f-d5fe-4bda-8f43-141ad7af67e3" providerId="ADAL" clId="{48B824AD-1B2A-47A8-8D92-6FE6E622A650}" dt="2024-12-16T09:08:56.780" v="2689"/>
          <ac:spMkLst>
            <pc:docMk/>
            <pc:sldMk cId="865606007" sldId="279"/>
            <ac:spMk id="96" creationId="{0EEAADBD-CA0A-2FB5-A943-A83E92F0EB4C}"/>
          </ac:spMkLst>
        </pc:spChg>
        <pc:spChg chg="add del mod">
          <ac:chgData name="Oğuz Öztekin" userId="33c0df0f-d5fe-4bda-8f43-141ad7af67e3" providerId="ADAL" clId="{48B824AD-1B2A-47A8-8D92-6FE6E622A650}" dt="2024-12-16T09:08:56.790" v="2708"/>
          <ac:spMkLst>
            <pc:docMk/>
            <pc:sldMk cId="865606007" sldId="279"/>
            <ac:spMk id="97" creationId="{90317880-550A-B267-18D0-E634B6F4B562}"/>
          </ac:spMkLst>
        </pc:spChg>
        <pc:spChg chg="add del mod">
          <ac:chgData name="Oğuz Öztekin" userId="33c0df0f-d5fe-4bda-8f43-141ad7af67e3" providerId="ADAL" clId="{48B824AD-1B2A-47A8-8D92-6FE6E622A650}" dt="2024-12-16T09:08:56.792" v="2713"/>
          <ac:spMkLst>
            <pc:docMk/>
            <pc:sldMk cId="865606007" sldId="279"/>
            <ac:spMk id="98" creationId="{E8D6F0D2-865B-D370-3593-0F0637463103}"/>
          </ac:spMkLst>
        </pc:spChg>
        <pc:spChg chg="add del mod">
          <ac:chgData name="Oğuz Öztekin" userId="33c0df0f-d5fe-4bda-8f43-141ad7af67e3" providerId="ADAL" clId="{48B824AD-1B2A-47A8-8D92-6FE6E622A650}" dt="2024-12-16T09:08:56.795" v="2718"/>
          <ac:spMkLst>
            <pc:docMk/>
            <pc:sldMk cId="865606007" sldId="279"/>
            <ac:spMk id="99" creationId="{6DA41782-3513-E10B-79C2-F3C086A92263}"/>
          </ac:spMkLst>
        </pc:spChg>
        <pc:spChg chg="add del mod">
          <ac:chgData name="Oğuz Öztekin" userId="33c0df0f-d5fe-4bda-8f43-141ad7af67e3" providerId="ADAL" clId="{48B824AD-1B2A-47A8-8D92-6FE6E622A650}" dt="2024-12-16T09:08:56.804" v="2737"/>
          <ac:spMkLst>
            <pc:docMk/>
            <pc:sldMk cId="865606007" sldId="279"/>
            <ac:spMk id="100" creationId="{59776D1D-22F2-3C29-41B9-9188A15AD36E}"/>
          </ac:spMkLst>
        </pc:spChg>
        <pc:spChg chg="add del mod">
          <ac:chgData name="Oğuz Öztekin" userId="33c0df0f-d5fe-4bda-8f43-141ad7af67e3" providerId="ADAL" clId="{48B824AD-1B2A-47A8-8D92-6FE6E622A650}" dt="2024-12-16T09:08:56.806" v="2742"/>
          <ac:spMkLst>
            <pc:docMk/>
            <pc:sldMk cId="865606007" sldId="279"/>
            <ac:spMk id="101" creationId="{50274E4C-DA1A-61A4-4F32-7C3472320E1E}"/>
          </ac:spMkLst>
        </pc:spChg>
        <pc:spChg chg="add del mod">
          <ac:chgData name="Oğuz Öztekin" userId="33c0df0f-d5fe-4bda-8f43-141ad7af67e3" providerId="ADAL" clId="{48B824AD-1B2A-47A8-8D92-6FE6E622A650}" dt="2024-12-16T09:08:56.808" v="2747"/>
          <ac:spMkLst>
            <pc:docMk/>
            <pc:sldMk cId="865606007" sldId="279"/>
            <ac:spMk id="102" creationId="{7C7099A0-4F2B-96D5-B40A-088E0334F3E1}"/>
          </ac:spMkLst>
        </pc:spChg>
        <pc:spChg chg="add del mod">
          <ac:chgData name="Oğuz Öztekin" userId="33c0df0f-d5fe-4bda-8f43-141ad7af67e3" providerId="ADAL" clId="{48B824AD-1B2A-47A8-8D92-6FE6E622A650}" dt="2024-12-16T09:08:56.817" v="2766"/>
          <ac:spMkLst>
            <pc:docMk/>
            <pc:sldMk cId="865606007" sldId="279"/>
            <ac:spMk id="103" creationId="{A2BC3D39-3DF8-FA3B-3D8F-B65BD6273E85}"/>
          </ac:spMkLst>
        </pc:spChg>
        <pc:spChg chg="add del mod">
          <ac:chgData name="Oğuz Öztekin" userId="33c0df0f-d5fe-4bda-8f43-141ad7af67e3" providerId="ADAL" clId="{48B824AD-1B2A-47A8-8D92-6FE6E622A650}" dt="2024-12-16T09:08:56.820" v="2771"/>
          <ac:spMkLst>
            <pc:docMk/>
            <pc:sldMk cId="865606007" sldId="279"/>
            <ac:spMk id="104" creationId="{0C9FD4B9-5396-6DDF-0E9F-0EC36FE716CB}"/>
          </ac:spMkLst>
        </pc:spChg>
        <pc:spChg chg="add del mod">
          <ac:chgData name="Oğuz Öztekin" userId="33c0df0f-d5fe-4bda-8f43-141ad7af67e3" providerId="ADAL" clId="{48B824AD-1B2A-47A8-8D92-6FE6E622A650}" dt="2024-12-16T09:08:56.822" v="2776"/>
          <ac:spMkLst>
            <pc:docMk/>
            <pc:sldMk cId="865606007" sldId="279"/>
            <ac:spMk id="105" creationId="{3BFAE1F2-3EC7-8E44-B644-619066250AD5}"/>
          </ac:spMkLst>
        </pc:spChg>
        <pc:spChg chg="add del mod modVis">
          <ac:chgData name="Oğuz Öztekin" userId="33c0df0f-d5fe-4bda-8f43-141ad7af67e3" providerId="ADAL" clId="{48B824AD-1B2A-47A8-8D92-6FE6E622A650}" dt="2024-12-16T09:08:56.910" v="2938"/>
          <ac:spMkLst>
            <pc:docMk/>
            <pc:sldMk cId="865606007" sldId="279"/>
            <ac:spMk id="106" creationId="{DBCA0BB9-046D-2A97-2E34-B36FE4C5D2D6}"/>
          </ac:spMkLst>
        </pc:spChg>
        <pc:spChg chg="add del mod ord">
          <ac:chgData name="Oğuz Öztekin" userId="33c0df0f-d5fe-4bda-8f43-141ad7af67e3" providerId="ADAL" clId="{48B824AD-1B2A-47A8-8D92-6FE6E622A650}" dt="2024-12-16T09:09:18.003" v="3469"/>
          <ac:spMkLst>
            <pc:docMk/>
            <pc:sldMk cId="865606007" sldId="279"/>
            <ac:spMk id="107" creationId="{C1D34926-005C-D940-00DB-374228F409C9}"/>
          </ac:spMkLst>
        </pc:spChg>
        <pc:spChg chg="add del mod ord">
          <ac:chgData name="Oğuz Öztekin" userId="33c0df0f-d5fe-4bda-8f43-141ad7af67e3" providerId="ADAL" clId="{48B824AD-1B2A-47A8-8D92-6FE6E622A650}" dt="2024-12-16T09:09:18.004" v="3471"/>
          <ac:spMkLst>
            <pc:docMk/>
            <pc:sldMk cId="865606007" sldId="279"/>
            <ac:spMk id="108" creationId="{63407FE9-4A30-45C9-4D1B-E6E2FAD9DD81}"/>
          </ac:spMkLst>
        </pc:spChg>
        <pc:spChg chg="add del mod ord">
          <ac:chgData name="Oğuz Öztekin" userId="33c0df0f-d5fe-4bda-8f43-141ad7af67e3" providerId="ADAL" clId="{48B824AD-1B2A-47A8-8D92-6FE6E622A650}" dt="2024-12-16T09:09:18.005" v="3475"/>
          <ac:spMkLst>
            <pc:docMk/>
            <pc:sldMk cId="865606007" sldId="279"/>
            <ac:spMk id="109" creationId="{2D9CC1F3-B633-CF74-2C50-C1B780C57F23}"/>
          </ac:spMkLst>
        </pc:spChg>
        <pc:spChg chg="add del mod ord">
          <ac:chgData name="Oğuz Öztekin" userId="33c0df0f-d5fe-4bda-8f43-141ad7af67e3" providerId="ADAL" clId="{48B824AD-1B2A-47A8-8D92-6FE6E622A650}" dt="2024-12-16T09:09:18.005" v="3477"/>
          <ac:spMkLst>
            <pc:docMk/>
            <pc:sldMk cId="865606007" sldId="279"/>
            <ac:spMk id="110" creationId="{4C5DEC53-A0A5-F307-CA15-5B0DCF5F1004}"/>
          </ac:spMkLst>
        </pc:spChg>
        <pc:spChg chg="add del mod ord">
          <ac:chgData name="Oğuz Öztekin" userId="33c0df0f-d5fe-4bda-8f43-141ad7af67e3" providerId="ADAL" clId="{48B824AD-1B2A-47A8-8D92-6FE6E622A650}" dt="2024-12-16T09:09:18.006" v="3479"/>
          <ac:spMkLst>
            <pc:docMk/>
            <pc:sldMk cId="865606007" sldId="279"/>
            <ac:spMk id="111" creationId="{83C28FFD-6DFA-E73F-58D7-EF9B754ED7FA}"/>
          </ac:spMkLst>
        </pc:spChg>
        <pc:spChg chg="add del mod ord">
          <ac:chgData name="Oğuz Öztekin" userId="33c0df0f-d5fe-4bda-8f43-141ad7af67e3" providerId="ADAL" clId="{48B824AD-1B2A-47A8-8D92-6FE6E622A650}" dt="2024-12-16T09:09:18.006" v="3481"/>
          <ac:spMkLst>
            <pc:docMk/>
            <pc:sldMk cId="865606007" sldId="279"/>
            <ac:spMk id="112" creationId="{89EE0815-5F8C-68CD-42AE-3B1861D06422}"/>
          </ac:spMkLst>
        </pc:spChg>
        <pc:spChg chg="add del mod ord">
          <ac:chgData name="Oğuz Öztekin" userId="33c0df0f-d5fe-4bda-8f43-141ad7af67e3" providerId="ADAL" clId="{48B824AD-1B2A-47A8-8D92-6FE6E622A650}" dt="2024-12-16T09:09:18.007" v="3483"/>
          <ac:spMkLst>
            <pc:docMk/>
            <pc:sldMk cId="865606007" sldId="279"/>
            <ac:spMk id="113" creationId="{E85A4160-5971-FBB7-566C-102C8C3107E0}"/>
          </ac:spMkLst>
        </pc:spChg>
        <pc:spChg chg="add del mod ord">
          <ac:chgData name="Oğuz Öztekin" userId="33c0df0f-d5fe-4bda-8f43-141ad7af67e3" providerId="ADAL" clId="{48B824AD-1B2A-47A8-8D92-6FE6E622A650}" dt="2024-12-16T09:09:18.007" v="3485"/>
          <ac:spMkLst>
            <pc:docMk/>
            <pc:sldMk cId="865606007" sldId="279"/>
            <ac:spMk id="114" creationId="{C6C563F6-8862-6B18-C4C8-D68DCCD5918D}"/>
          </ac:spMkLst>
        </pc:spChg>
        <pc:spChg chg="add del mod ord">
          <ac:chgData name="Oğuz Öztekin" userId="33c0df0f-d5fe-4bda-8f43-141ad7af67e3" providerId="ADAL" clId="{48B824AD-1B2A-47A8-8D92-6FE6E622A650}" dt="2024-12-16T09:09:18.008" v="3487"/>
          <ac:spMkLst>
            <pc:docMk/>
            <pc:sldMk cId="865606007" sldId="279"/>
            <ac:spMk id="115" creationId="{C4411C2B-0A55-9424-EB74-0643438AC656}"/>
          </ac:spMkLst>
        </pc:spChg>
        <pc:spChg chg="add del mod modVis">
          <ac:chgData name="Oğuz Öztekin" userId="33c0df0f-d5fe-4bda-8f43-141ad7af67e3" providerId="ADAL" clId="{48B824AD-1B2A-47A8-8D92-6FE6E622A650}" dt="2024-12-16T09:09:06.509" v="3465"/>
          <ac:spMkLst>
            <pc:docMk/>
            <pc:sldMk cId="865606007" sldId="279"/>
            <ac:spMk id="128" creationId="{252C1011-10BF-32AC-81D2-9FFF20EE1B55}"/>
          </ac:spMkLst>
        </pc:spChg>
        <pc:spChg chg="add del mod modVis">
          <ac:chgData name="Oğuz Öztekin" userId="33c0df0f-d5fe-4bda-8f43-141ad7af67e3" providerId="ADAL" clId="{48B824AD-1B2A-47A8-8D92-6FE6E622A650}" dt="2024-12-16T09:09:18.159" v="3704"/>
          <ac:spMkLst>
            <pc:docMk/>
            <pc:sldMk cId="865606007" sldId="279"/>
            <ac:spMk id="130" creationId="{379C7889-7102-8C6D-984D-E4CE838787AE}"/>
          </ac:spMkLst>
        </pc:spChg>
        <pc:spChg chg="add del mod modVis">
          <ac:chgData name="Oğuz Öztekin" userId="33c0df0f-d5fe-4bda-8f43-141ad7af67e3" providerId="ADAL" clId="{48B824AD-1B2A-47A8-8D92-6FE6E622A650}" dt="2024-12-16T09:09:37.280" v="3825"/>
          <ac:spMkLst>
            <pc:docMk/>
            <pc:sldMk cId="865606007" sldId="279"/>
            <ac:spMk id="132" creationId="{0403AD3B-028A-DF34-AEDF-7AAFF3206DB7}"/>
          </ac:spMkLst>
        </pc:spChg>
        <pc:spChg chg="add del mod">
          <ac:chgData name="Oğuz Öztekin" userId="33c0df0f-d5fe-4bda-8f43-141ad7af67e3" providerId="ADAL" clId="{48B824AD-1B2A-47A8-8D92-6FE6E622A650}" dt="2024-12-16T09:10:17.958" v="5637"/>
          <ac:spMkLst>
            <pc:docMk/>
            <pc:sldMk cId="865606007" sldId="279"/>
            <ac:spMk id="134" creationId="{C8E2BACD-6EC3-DFB8-432B-906FBB597538}"/>
          </ac:spMkLst>
        </pc:spChg>
        <pc:spChg chg="add del mod">
          <ac:chgData name="Oğuz Öztekin" userId="33c0df0f-d5fe-4bda-8f43-141ad7af67e3" providerId="ADAL" clId="{48B824AD-1B2A-47A8-8D92-6FE6E622A650}" dt="2024-12-16T09:10:17.960" v="5640"/>
          <ac:spMkLst>
            <pc:docMk/>
            <pc:sldMk cId="865606007" sldId="279"/>
            <ac:spMk id="135" creationId="{25464700-07AD-DADF-DBAD-548290485229}"/>
          </ac:spMkLst>
        </pc:spChg>
        <pc:spChg chg="add del mod">
          <ac:chgData name="Oğuz Öztekin" userId="33c0df0f-d5fe-4bda-8f43-141ad7af67e3" providerId="ADAL" clId="{48B824AD-1B2A-47A8-8D92-6FE6E622A650}" dt="2024-12-16T09:10:17.962" v="5643"/>
          <ac:spMkLst>
            <pc:docMk/>
            <pc:sldMk cId="865606007" sldId="279"/>
            <ac:spMk id="136" creationId="{2718E8B6-049B-A746-5977-DB9409DB6823}"/>
          </ac:spMkLst>
        </pc:spChg>
        <pc:spChg chg="add del mod">
          <ac:chgData name="Oğuz Öztekin" userId="33c0df0f-d5fe-4bda-8f43-141ad7af67e3" providerId="ADAL" clId="{48B824AD-1B2A-47A8-8D92-6FE6E622A650}" dt="2024-12-16T09:10:17.963" v="5646"/>
          <ac:spMkLst>
            <pc:docMk/>
            <pc:sldMk cId="865606007" sldId="279"/>
            <ac:spMk id="137" creationId="{7FF0BFC4-02C5-1676-0EB2-55735E2E0BEF}"/>
          </ac:spMkLst>
        </pc:spChg>
        <pc:spChg chg="add del mod">
          <ac:chgData name="Oğuz Öztekin" userId="33c0df0f-d5fe-4bda-8f43-141ad7af67e3" providerId="ADAL" clId="{48B824AD-1B2A-47A8-8D92-6FE6E622A650}" dt="2024-12-16T09:10:17.965" v="5649"/>
          <ac:spMkLst>
            <pc:docMk/>
            <pc:sldMk cId="865606007" sldId="279"/>
            <ac:spMk id="138" creationId="{747E3264-62F6-DB08-EFEB-3CAC027158C4}"/>
          </ac:spMkLst>
        </pc:spChg>
        <pc:spChg chg="add del mod">
          <ac:chgData name="Oğuz Öztekin" userId="33c0df0f-d5fe-4bda-8f43-141ad7af67e3" providerId="ADAL" clId="{48B824AD-1B2A-47A8-8D92-6FE6E622A650}" dt="2024-12-16T09:10:17.967" v="5652"/>
          <ac:spMkLst>
            <pc:docMk/>
            <pc:sldMk cId="865606007" sldId="279"/>
            <ac:spMk id="139" creationId="{ACEEF6DE-88A8-1B9D-375F-5ED6046F8458}"/>
          </ac:spMkLst>
        </pc:spChg>
        <pc:spChg chg="add del mod">
          <ac:chgData name="Oğuz Öztekin" userId="33c0df0f-d5fe-4bda-8f43-141ad7af67e3" providerId="ADAL" clId="{48B824AD-1B2A-47A8-8D92-6FE6E622A650}" dt="2024-12-16T09:10:17.968" v="5655"/>
          <ac:spMkLst>
            <pc:docMk/>
            <pc:sldMk cId="865606007" sldId="279"/>
            <ac:spMk id="140" creationId="{E7093019-A2E7-160C-AA27-0392BB17FE66}"/>
          </ac:spMkLst>
        </pc:spChg>
        <pc:spChg chg="add del mod modVis">
          <ac:chgData name="Oğuz Öztekin" userId="33c0df0f-d5fe-4bda-8f43-141ad7af67e3" providerId="ADAL" clId="{48B824AD-1B2A-47A8-8D92-6FE6E622A650}" dt="2024-12-16T09:09:45.178" v="4291"/>
          <ac:spMkLst>
            <pc:docMk/>
            <pc:sldMk cId="865606007" sldId="279"/>
            <ac:spMk id="141" creationId="{47E806E7-140C-22B4-146F-956FFA28C69E}"/>
          </ac:spMkLst>
        </pc:spChg>
        <pc:spChg chg="add del mod ord">
          <ac:chgData name="Oğuz Öztekin" userId="33c0df0f-d5fe-4bda-8f43-141ad7af67e3" providerId="ADAL" clId="{48B824AD-1B2A-47A8-8D92-6FE6E622A650}" dt="2024-12-16T09:10:15.467" v="5398"/>
          <ac:spMkLst>
            <pc:docMk/>
            <pc:sldMk cId="865606007" sldId="279"/>
            <ac:spMk id="142" creationId="{4CBB4C38-B9BF-BFFF-0335-4C596EFABED2}"/>
          </ac:spMkLst>
        </pc:spChg>
        <pc:spChg chg="add del mod">
          <ac:chgData name="Oğuz Öztekin" userId="33c0df0f-d5fe-4bda-8f43-141ad7af67e3" providerId="ADAL" clId="{48B824AD-1B2A-47A8-8D92-6FE6E622A650}" dt="2024-12-16T09:10:17.958" v="5636"/>
          <ac:spMkLst>
            <pc:docMk/>
            <pc:sldMk cId="865606007" sldId="279"/>
            <ac:spMk id="144" creationId="{00D96561-CB9E-741F-2BF5-3E59CA19C627}"/>
          </ac:spMkLst>
        </pc:spChg>
        <pc:spChg chg="add del mod">
          <ac:chgData name="Oğuz Öztekin" userId="33c0df0f-d5fe-4bda-8f43-141ad7af67e3" providerId="ADAL" clId="{48B824AD-1B2A-47A8-8D92-6FE6E622A650}" dt="2024-12-16T09:10:17.960" v="5639"/>
          <ac:spMkLst>
            <pc:docMk/>
            <pc:sldMk cId="865606007" sldId="279"/>
            <ac:spMk id="145" creationId="{93414964-4C5D-135B-026B-3104A42541B9}"/>
          </ac:spMkLst>
        </pc:spChg>
        <pc:spChg chg="add del mod">
          <ac:chgData name="Oğuz Öztekin" userId="33c0df0f-d5fe-4bda-8f43-141ad7af67e3" providerId="ADAL" clId="{48B824AD-1B2A-47A8-8D92-6FE6E622A650}" dt="2024-12-16T09:10:17.961" v="5642"/>
          <ac:spMkLst>
            <pc:docMk/>
            <pc:sldMk cId="865606007" sldId="279"/>
            <ac:spMk id="146" creationId="{0D2A77C9-906C-986E-081F-9657E598890F}"/>
          </ac:spMkLst>
        </pc:spChg>
        <pc:spChg chg="add del mod">
          <ac:chgData name="Oğuz Öztekin" userId="33c0df0f-d5fe-4bda-8f43-141ad7af67e3" providerId="ADAL" clId="{48B824AD-1B2A-47A8-8D92-6FE6E622A650}" dt="2024-12-16T09:10:17.963" v="5645"/>
          <ac:spMkLst>
            <pc:docMk/>
            <pc:sldMk cId="865606007" sldId="279"/>
            <ac:spMk id="147" creationId="{B495C91A-6094-C340-77C1-47682C5E99AD}"/>
          </ac:spMkLst>
        </pc:spChg>
        <pc:spChg chg="add del mod">
          <ac:chgData name="Oğuz Öztekin" userId="33c0df0f-d5fe-4bda-8f43-141ad7af67e3" providerId="ADAL" clId="{48B824AD-1B2A-47A8-8D92-6FE6E622A650}" dt="2024-12-16T09:10:17.965" v="5648"/>
          <ac:spMkLst>
            <pc:docMk/>
            <pc:sldMk cId="865606007" sldId="279"/>
            <ac:spMk id="148" creationId="{D6E8BCCA-5E73-C54D-DC58-588EEE291790}"/>
          </ac:spMkLst>
        </pc:spChg>
        <pc:spChg chg="add del mod">
          <ac:chgData name="Oğuz Öztekin" userId="33c0df0f-d5fe-4bda-8f43-141ad7af67e3" providerId="ADAL" clId="{48B824AD-1B2A-47A8-8D92-6FE6E622A650}" dt="2024-12-16T09:10:17.966" v="5651"/>
          <ac:spMkLst>
            <pc:docMk/>
            <pc:sldMk cId="865606007" sldId="279"/>
            <ac:spMk id="149" creationId="{4334328C-9D1F-9E06-A5BC-BC0B70F14520}"/>
          </ac:spMkLst>
        </pc:spChg>
        <pc:spChg chg="add del mod">
          <ac:chgData name="Oğuz Öztekin" userId="33c0df0f-d5fe-4bda-8f43-141ad7af67e3" providerId="ADAL" clId="{48B824AD-1B2A-47A8-8D92-6FE6E622A650}" dt="2024-12-16T09:10:17.968" v="5654"/>
          <ac:spMkLst>
            <pc:docMk/>
            <pc:sldMk cId="865606007" sldId="279"/>
            <ac:spMk id="150" creationId="{D5165FAD-ECA9-1CAA-C737-2683BB0B7382}"/>
          </ac:spMkLst>
        </pc:spChg>
        <pc:spChg chg="add del mod">
          <ac:chgData name="Oğuz Öztekin" userId="33c0df0f-d5fe-4bda-8f43-141ad7af67e3" providerId="ADAL" clId="{48B824AD-1B2A-47A8-8D92-6FE6E622A650}" dt="2024-12-16T09:10:17.970" v="5658"/>
          <ac:spMkLst>
            <pc:docMk/>
            <pc:sldMk cId="865606007" sldId="279"/>
            <ac:spMk id="151" creationId="{F742688A-F7DF-A0F6-D969-84F41559FE5C}"/>
          </ac:spMkLst>
        </pc:spChg>
        <pc:spChg chg="add del mod">
          <ac:chgData name="Oğuz Öztekin" userId="33c0df0f-d5fe-4bda-8f43-141ad7af67e3" providerId="ADAL" clId="{48B824AD-1B2A-47A8-8D92-6FE6E622A650}" dt="2024-12-16T09:10:17.971" v="5661"/>
          <ac:spMkLst>
            <pc:docMk/>
            <pc:sldMk cId="865606007" sldId="279"/>
            <ac:spMk id="152" creationId="{7E6640FC-5170-B0A2-F003-0F02F50087E5}"/>
          </ac:spMkLst>
        </pc:spChg>
        <pc:spChg chg="add del mod">
          <ac:chgData name="Oğuz Öztekin" userId="33c0df0f-d5fe-4bda-8f43-141ad7af67e3" providerId="ADAL" clId="{48B824AD-1B2A-47A8-8D92-6FE6E622A650}" dt="2024-12-16T09:10:17.973" v="5664"/>
          <ac:spMkLst>
            <pc:docMk/>
            <pc:sldMk cId="865606007" sldId="279"/>
            <ac:spMk id="153" creationId="{112CE0CC-A6BC-3AB7-CD6B-4A4E197E6E5C}"/>
          </ac:spMkLst>
        </pc:spChg>
        <pc:spChg chg="add del mod">
          <ac:chgData name="Oğuz Öztekin" userId="33c0df0f-d5fe-4bda-8f43-141ad7af67e3" providerId="ADAL" clId="{48B824AD-1B2A-47A8-8D92-6FE6E622A650}" dt="2024-12-16T09:10:17.974" v="5667"/>
          <ac:spMkLst>
            <pc:docMk/>
            <pc:sldMk cId="865606007" sldId="279"/>
            <ac:spMk id="154" creationId="{17CC0339-1A9B-A26A-341F-513D442FFCA3}"/>
          </ac:spMkLst>
        </pc:spChg>
        <pc:spChg chg="add del mod">
          <ac:chgData name="Oğuz Öztekin" userId="33c0df0f-d5fe-4bda-8f43-141ad7af67e3" providerId="ADAL" clId="{48B824AD-1B2A-47A8-8D92-6FE6E622A650}" dt="2024-12-16T09:10:17.976" v="5670"/>
          <ac:spMkLst>
            <pc:docMk/>
            <pc:sldMk cId="865606007" sldId="279"/>
            <ac:spMk id="155" creationId="{9076746C-DD66-D3DB-7F96-466430B606BE}"/>
          </ac:spMkLst>
        </pc:spChg>
        <pc:spChg chg="add del mod">
          <ac:chgData name="Oğuz Öztekin" userId="33c0df0f-d5fe-4bda-8f43-141ad7af67e3" providerId="ADAL" clId="{48B824AD-1B2A-47A8-8D92-6FE6E622A650}" dt="2024-12-16T09:10:17.977" v="5673"/>
          <ac:spMkLst>
            <pc:docMk/>
            <pc:sldMk cId="865606007" sldId="279"/>
            <ac:spMk id="156" creationId="{B7AEDFE0-002B-9AED-3E06-95E1872710BF}"/>
          </ac:spMkLst>
        </pc:spChg>
        <pc:spChg chg="add del mod">
          <ac:chgData name="Oğuz Öztekin" userId="33c0df0f-d5fe-4bda-8f43-141ad7af67e3" providerId="ADAL" clId="{48B824AD-1B2A-47A8-8D92-6FE6E622A650}" dt="2024-12-16T09:10:17.980" v="5676"/>
          <ac:spMkLst>
            <pc:docMk/>
            <pc:sldMk cId="865606007" sldId="279"/>
            <ac:spMk id="157" creationId="{5F147A80-E4D4-D579-03B5-BC2F574FDB2C}"/>
          </ac:spMkLst>
        </pc:spChg>
        <pc:spChg chg="add del mod">
          <ac:chgData name="Oğuz Öztekin" userId="33c0df0f-d5fe-4bda-8f43-141ad7af67e3" providerId="ADAL" clId="{48B824AD-1B2A-47A8-8D92-6FE6E622A650}" dt="2024-12-16T09:10:17.981" v="5679"/>
          <ac:spMkLst>
            <pc:docMk/>
            <pc:sldMk cId="865606007" sldId="279"/>
            <ac:spMk id="158" creationId="{86F39C22-04DB-1AC8-B453-F287A56C205A}"/>
          </ac:spMkLst>
        </pc:spChg>
        <pc:spChg chg="add del mod">
          <ac:chgData name="Oğuz Öztekin" userId="33c0df0f-d5fe-4bda-8f43-141ad7af67e3" providerId="ADAL" clId="{48B824AD-1B2A-47A8-8D92-6FE6E622A650}" dt="2024-12-16T09:10:17.983" v="5682"/>
          <ac:spMkLst>
            <pc:docMk/>
            <pc:sldMk cId="865606007" sldId="279"/>
            <ac:spMk id="159" creationId="{A5BB7CF3-B4A2-B4F1-BEBC-03FBE5CA182B}"/>
          </ac:spMkLst>
        </pc:spChg>
        <pc:spChg chg="add del mod">
          <ac:chgData name="Oğuz Öztekin" userId="33c0df0f-d5fe-4bda-8f43-141ad7af67e3" providerId="ADAL" clId="{48B824AD-1B2A-47A8-8D92-6FE6E622A650}" dt="2024-12-16T09:10:17.984" v="5685"/>
          <ac:spMkLst>
            <pc:docMk/>
            <pc:sldMk cId="865606007" sldId="279"/>
            <ac:spMk id="160" creationId="{A02C5C12-9B91-2ADD-F989-20959A556FD9}"/>
          </ac:spMkLst>
        </pc:spChg>
        <pc:spChg chg="add del mod">
          <ac:chgData name="Oğuz Öztekin" userId="33c0df0f-d5fe-4bda-8f43-141ad7af67e3" providerId="ADAL" clId="{48B824AD-1B2A-47A8-8D92-6FE6E622A650}" dt="2024-12-16T09:10:17.986" v="5688"/>
          <ac:spMkLst>
            <pc:docMk/>
            <pc:sldMk cId="865606007" sldId="279"/>
            <ac:spMk id="161" creationId="{A3F651A5-4E74-B0F0-2118-0973722BB781}"/>
          </ac:spMkLst>
        </pc:spChg>
        <pc:spChg chg="add del mod">
          <ac:chgData name="Oğuz Öztekin" userId="33c0df0f-d5fe-4bda-8f43-141ad7af67e3" providerId="ADAL" clId="{48B824AD-1B2A-47A8-8D92-6FE6E622A650}" dt="2024-12-16T09:10:17.987" v="5691"/>
          <ac:spMkLst>
            <pc:docMk/>
            <pc:sldMk cId="865606007" sldId="279"/>
            <ac:spMk id="162" creationId="{8D6D0347-4DF2-A922-ED83-EBEE18E4D11D}"/>
          </ac:spMkLst>
        </pc:spChg>
        <pc:spChg chg="add del mod">
          <ac:chgData name="Oğuz Öztekin" userId="33c0df0f-d5fe-4bda-8f43-141ad7af67e3" providerId="ADAL" clId="{48B824AD-1B2A-47A8-8D92-6FE6E622A650}" dt="2024-12-16T09:10:17.988" v="5694"/>
          <ac:spMkLst>
            <pc:docMk/>
            <pc:sldMk cId="865606007" sldId="279"/>
            <ac:spMk id="163" creationId="{9E327E7F-7E77-DBF0-72AD-45AD28764A69}"/>
          </ac:spMkLst>
        </pc:spChg>
        <pc:spChg chg="add del mod modVis">
          <ac:chgData name="Oğuz Öztekin" userId="33c0df0f-d5fe-4bda-8f43-141ad7af67e3" providerId="ADAL" clId="{48B824AD-1B2A-47A8-8D92-6FE6E622A650}" dt="2024-12-16T09:09:57.206" v="4983"/>
          <ac:spMkLst>
            <pc:docMk/>
            <pc:sldMk cId="865606007" sldId="279"/>
            <ac:spMk id="164" creationId="{1CE2FEAF-77EA-C206-A3ED-7AB397572043}"/>
          </ac:spMkLst>
        </pc:spChg>
        <pc:spChg chg="add del mod ord">
          <ac:chgData name="Oğuz Öztekin" userId="33c0df0f-d5fe-4bda-8f43-141ad7af67e3" providerId="ADAL" clId="{48B824AD-1B2A-47A8-8D92-6FE6E622A650}" dt="2024-12-16T09:10:15.470" v="5400"/>
          <ac:spMkLst>
            <pc:docMk/>
            <pc:sldMk cId="865606007" sldId="279"/>
            <ac:spMk id="165" creationId="{972AF1A5-AF26-A743-0FC3-4AF25B1E79B6}"/>
          </ac:spMkLst>
        </pc:spChg>
        <pc:spChg chg="add del mod">
          <ac:chgData name="Oğuz Öztekin" userId="33c0df0f-d5fe-4bda-8f43-141ad7af67e3" providerId="ADAL" clId="{48B824AD-1B2A-47A8-8D92-6FE6E622A650}" dt="2024-12-16T09:10:17.969" v="5657"/>
          <ac:spMkLst>
            <pc:docMk/>
            <pc:sldMk cId="865606007" sldId="279"/>
            <ac:spMk id="167" creationId="{F58F64B1-2FE1-C362-42D9-52F83E4AE69A}"/>
          </ac:spMkLst>
        </pc:spChg>
        <pc:spChg chg="add del mod">
          <ac:chgData name="Oğuz Öztekin" userId="33c0df0f-d5fe-4bda-8f43-141ad7af67e3" providerId="ADAL" clId="{48B824AD-1B2A-47A8-8D92-6FE6E622A650}" dt="2024-12-16T09:10:17.971" v="5660"/>
          <ac:spMkLst>
            <pc:docMk/>
            <pc:sldMk cId="865606007" sldId="279"/>
            <ac:spMk id="168" creationId="{A2F9BA80-CA36-F0CB-E752-C1BCE663FA4B}"/>
          </ac:spMkLst>
        </pc:spChg>
        <pc:spChg chg="add del mod">
          <ac:chgData name="Oğuz Öztekin" userId="33c0df0f-d5fe-4bda-8f43-141ad7af67e3" providerId="ADAL" clId="{48B824AD-1B2A-47A8-8D92-6FE6E622A650}" dt="2024-12-16T09:10:17.973" v="5663"/>
          <ac:spMkLst>
            <pc:docMk/>
            <pc:sldMk cId="865606007" sldId="279"/>
            <ac:spMk id="169" creationId="{3AAE3591-6F38-4DB3-24A8-EF20E2167BB8}"/>
          </ac:spMkLst>
        </pc:spChg>
        <pc:spChg chg="add del mod">
          <ac:chgData name="Oğuz Öztekin" userId="33c0df0f-d5fe-4bda-8f43-141ad7af67e3" providerId="ADAL" clId="{48B824AD-1B2A-47A8-8D92-6FE6E622A650}" dt="2024-12-16T09:10:17.974" v="5666"/>
          <ac:spMkLst>
            <pc:docMk/>
            <pc:sldMk cId="865606007" sldId="279"/>
            <ac:spMk id="170" creationId="{B3D4BB76-0B9A-0A60-0F07-B40BE1CA364B}"/>
          </ac:spMkLst>
        </pc:spChg>
        <pc:spChg chg="add del mod">
          <ac:chgData name="Oğuz Öztekin" userId="33c0df0f-d5fe-4bda-8f43-141ad7af67e3" providerId="ADAL" clId="{48B824AD-1B2A-47A8-8D92-6FE6E622A650}" dt="2024-12-16T09:10:17.975" v="5669"/>
          <ac:spMkLst>
            <pc:docMk/>
            <pc:sldMk cId="865606007" sldId="279"/>
            <ac:spMk id="171" creationId="{9746EFC0-8C17-F0CD-4301-975C6341EB68}"/>
          </ac:spMkLst>
        </pc:spChg>
        <pc:spChg chg="add del mod">
          <ac:chgData name="Oğuz Öztekin" userId="33c0df0f-d5fe-4bda-8f43-141ad7af67e3" providerId="ADAL" clId="{48B824AD-1B2A-47A8-8D92-6FE6E622A650}" dt="2024-12-16T09:10:17.977" v="5672"/>
          <ac:spMkLst>
            <pc:docMk/>
            <pc:sldMk cId="865606007" sldId="279"/>
            <ac:spMk id="172" creationId="{E3FEE70C-6181-9766-1D68-AD49A5974F1B}"/>
          </ac:spMkLst>
        </pc:spChg>
        <pc:spChg chg="add del mod">
          <ac:chgData name="Oğuz Öztekin" userId="33c0df0f-d5fe-4bda-8f43-141ad7af67e3" providerId="ADAL" clId="{48B824AD-1B2A-47A8-8D92-6FE6E622A650}" dt="2024-12-16T09:10:17.979" v="5675"/>
          <ac:spMkLst>
            <pc:docMk/>
            <pc:sldMk cId="865606007" sldId="279"/>
            <ac:spMk id="173" creationId="{1AE77FB3-30DC-D6C5-CF66-F06D6C0282D6}"/>
          </ac:spMkLst>
        </pc:spChg>
        <pc:spChg chg="add del mod">
          <ac:chgData name="Oğuz Öztekin" userId="33c0df0f-d5fe-4bda-8f43-141ad7af67e3" providerId="ADAL" clId="{48B824AD-1B2A-47A8-8D92-6FE6E622A650}" dt="2024-12-16T09:10:17.980" v="5678"/>
          <ac:spMkLst>
            <pc:docMk/>
            <pc:sldMk cId="865606007" sldId="279"/>
            <ac:spMk id="174" creationId="{A455A4A9-5F5C-8D02-292A-3C0A3735D27D}"/>
          </ac:spMkLst>
        </pc:spChg>
        <pc:spChg chg="add del mod">
          <ac:chgData name="Oğuz Öztekin" userId="33c0df0f-d5fe-4bda-8f43-141ad7af67e3" providerId="ADAL" clId="{48B824AD-1B2A-47A8-8D92-6FE6E622A650}" dt="2024-12-16T09:10:17.982" v="5681"/>
          <ac:spMkLst>
            <pc:docMk/>
            <pc:sldMk cId="865606007" sldId="279"/>
            <ac:spMk id="175" creationId="{0C0EF021-00BB-FAFB-ECCC-EC78F85DDFDE}"/>
          </ac:spMkLst>
        </pc:spChg>
        <pc:spChg chg="add del mod">
          <ac:chgData name="Oğuz Öztekin" userId="33c0df0f-d5fe-4bda-8f43-141ad7af67e3" providerId="ADAL" clId="{48B824AD-1B2A-47A8-8D92-6FE6E622A650}" dt="2024-12-16T09:10:17.984" v="5684"/>
          <ac:spMkLst>
            <pc:docMk/>
            <pc:sldMk cId="865606007" sldId="279"/>
            <ac:spMk id="176" creationId="{B017A78A-AD74-224E-C7EF-DE087E593069}"/>
          </ac:spMkLst>
        </pc:spChg>
        <pc:spChg chg="add del mod">
          <ac:chgData name="Oğuz Öztekin" userId="33c0df0f-d5fe-4bda-8f43-141ad7af67e3" providerId="ADAL" clId="{48B824AD-1B2A-47A8-8D92-6FE6E622A650}" dt="2024-12-16T09:10:17.985" v="5687"/>
          <ac:spMkLst>
            <pc:docMk/>
            <pc:sldMk cId="865606007" sldId="279"/>
            <ac:spMk id="177" creationId="{6C1DBADE-D94C-966B-0334-7342CA30B059}"/>
          </ac:spMkLst>
        </pc:spChg>
        <pc:spChg chg="add del mod">
          <ac:chgData name="Oğuz Öztekin" userId="33c0df0f-d5fe-4bda-8f43-141ad7af67e3" providerId="ADAL" clId="{48B824AD-1B2A-47A8-8D92-6FE6E622A650}" dt="2024-12-16T09:10:17.987" v="5690"/>
          <ac:spMkLst>
            <pc:docMk/>
            <pc:sldMk cId="865606007" sldId="279"/>
            <ac:spMk id="178" creationId="{488578A3-D993-2D91-3EFC-85D8483B6458}"/>
          </ac:spMkLst>
        </pc:spChg>
        <pc:spChg chg="add del mod">
          <ac:chgData name="Oğuz Öztekin" userId="33c0df0f-d5fe-4bda-8f43-141ad7af67e3" providerId="ADAL" clId="{48B824AD-1B2A-47A8-8D92-6FE6E622A650}" dt="2024-12-16T09:10:17.988" v="5693"/>
          <ac:spMkLst>
            <pc:docMk/>
            <pc:sldMk cId="865606007" sldId="279"/>
            <ac:spMk id="179" creationId="{FEEA5220-B3F3-A00A-26C4-20AFA2AF367F}"/>
          </ac:spMkLst>
        </pc:spChg>
        <pc:spChg chg="add del mod modVis">
          <ac:chgData name="Oğuz Öztekin" userId="33c0df0f-d5fe-4bda-8f43-141ad7af67e3" providerId="ADAL" clId="{48B824AD-1B2A-47A8-8D92-6FE6E622A650}" dt="2024-12-16T09:10:09.788" v="5215"/>
          <ac:spMkLst>
            <pc:docMk/>
            <pc:sldMk cId="865606007" sldId="279"/>
            <ac:spMk id="180" creationId="{6A5B9BE5-DA1A-F6D0-EB45-F13E9A2FD107}"/>
          </ac:spMkLst>
        </pc:spChg>
        <pc:spChg chg="add del mod ord">
          <ac:chgData name="Oğuz Öztekin" userId="33c0df0f-d5fe-4bda-8f43-141ad7af67e3" providerId="ADAL" clId="{48B824AD-1B2A-47A8-8D92-6FE6E622A650}" dt="2024-12-16T09:10:15.471" v="5403"/>
          <ac:spMkLst>
            <pc:docMk/>
            <pc:sldMk cId="865606007" sldId="279"/>
            <ac:spMk id="181" creationId="{9D8DC771-C8E1-C04D-B06B-B7BEE847F11D}"/>
          </ac:spMkLst>
        </pc:spChg>
        <pc:spChg chg="add del mod modVis">
          <ac:chgData name="Oğuz Öztekin" userId="33c0df0f-d5fe-4bda-8f43-141ad7af67e3" providerId="ADAL" clId="{48B824AD-1B2A-47A8-8D92-6FE6E622A650}" dt="2024-12-16T09:10:13.738" v="5392"/>
          <ac:spMkLst>
            <pc:docMk/>
            <pc:sldMk cId="865606007" sldId="279"/>
            <ac:spMk id="183" creationId="{4056947C-1854-0BA5-7572-7DB761B103EA}"/>
          </ac:spMkLst>
        </pc:spChg>
        <pc:spChg chg="add del mod modVis">
          <ac:chgData name="Oğuz Öztekin" userId="33c0df0f-d5fe-4bda-8f43-141ad7af67e3" providerId="ADAL" clId="{48B824AD-1B2A-47A8-8D92-6FE6E622A650}" dt="2024-12-16T09:10:15.637" v="5609"/>
          <ac:spMkLst>
            <pc:docMk/>
            <pc:sldMk cId="865606007" sldId="279"/>
            <ac:spMk id="185" creationId="{F3A5DF60-D281-2496-6B46-22EF6259B017}"/>
          </ac:spMkLst>
        </pc:spChg>
        <pc:spChg chg="add del mod modVis">
          <ac:chgData name="Oğuz Öztekin" userId="33c0df0f-d5fe-4bda-8f43-141ad7af67e3" providerId="ADAL" clId="{48B824AD-1B2A-47A8-8D92-6FE6E622A650}" dt="2024-12-16T09:10:18.063" v="5784"/>
          <ac:spMkLst>
            <pc:docMk/>
            <pc:sldMk cId="865606007" sldId="279"/>
            <ac:spMk id="187" creationId="{A2748EF0-2E67-156C-B2C3-18BB56984D79}"/>
          </ac:spMkLst>
        </pc:spChg>
        <pc:spChg chg="add del mod modVis">
          <ac:chgData name="Oğuz Öztekin" userId="33c0df0f-d5fe-4bda-8f43-141ad7af67e3" providerId="ADAL" clId="{48B824AD-1B2A-47A8-8D92-6FE6E622A650}" dt="2024-12-16T09:10:20.195" v="5904"/>
          <ac:spMkLst>
            <pc:docMk/>
            <pc:sldMk cId="865606007" sldId="279"/>
            <ac:spMk id="189" creationId="{A0372630-82FC-502E-7502-613398006543}"/>
          </ac:spMkLst>
        </pc:spChg>
        <pc:spChg chg="add mod">
          <ac:chgData name="Oğuz Öztekin" userId="33c0df0f-d5fe-4bda-8f43-141ad7af67e3" providerId="ADAL" clId="{48B824AD-1B2A-47A8-8D92-6FE6E622A650}" dt="2024-12-16T09:21:02.880" v="25997"/>
          <ac:spMkLst>
            <pc:docMk/>
            <pc:sldMk cId="865606007" sldId="279"/>
            <ac:spMk id="191" creationId="{86DC1F13-D0DD-9BBB-F908-78DDC3218BD2}"/>
          </ac:spMkLst>
        </pc:spChg>
        <pc:spChg chg="add mod">
          <ac:chgData name="Oğuz Öztekin" userId="33c0df0f-d5fe-4bda-8f43-141ad7af67e3" providerId="ADAL" clId="{48B824AD-1B2A-47A8-8D92-6FE6E622A650}" dt="2024-12-16T09:21:02.880" v="25998"/>
          <ac:spMkLst>
            <pc:docMk/>
            <pc:sldMk cId="865606007" sldId="279"/>
            <ac:spMk id="192" creationId="{E7548B9C-1262-972C-27FE-B750D79D62B7}"/>
          </ac:spMkLst>
        </pc:spChg>
        <pc:spChg chg="add del mod">
          <ac:chgData name="Oğuz Öztekin" userId="33c0df0f-d5fe-4bda-8f43-141ad7af67e3" providerId="ADAL" clId="{48B824AD-1B2A-47A8-8D92-6FE6E622A650}" dt="2024-12-16T09:10:52.071" v="8915"/>
          <ac:spMkLst>
            <pc:docMk/>
            <pc:sldMk cId="865606007" sldId="279"/>
            <ac:spMk id="193" creationId="{87FF4CFA-E40F-47D9-6DBE-66D272AA028A}"/>
          </ac:spMkLst>
        </pc:spChg>
        <pc:spChg chg="add del mod">
          <ac:chgData name="Oğuz Öztekin" userId="33c0df0f-d5fe-4bda-8f43-141ad7af67e3" providerId="ADAL" clId="{48B824AD-1B2A-47A8-8D92-6FE6E622A650}" dt="2024-12-16T09:10:52.072" v="8918"/>
          <ac:spMkLst>
            <pc:docMk/>
            <pc:sldMk cId="865606007" sldId="279"/>
            <ac:spMk id="194" creationId="{5B713A44-1FA1-287F-AF63-518D34F57ABB}"/>
          </ac:spMkLst>
        </pc:spChg>
        <pc:spChg chg="add del mod">
          <ac:chgData name="Oğuz Öztekin" userId="33c0df0f-d5fe-4bda-8f43-141ad7af67e3" providerId="ADAL" clId="{48B824AD-1B2A-47A8-8D92-6FE6E622A650}" dt="2024-12-16T09:10:52.073" v="8921"/>
          <ac:spMkLst>
            <pc:docMk/>
            <pc:sldMk cId="865606007" sldId="279"/>
            <ac:spMk id="195" creationId="{6CBA59C9-31A6-2665-686E-34526599D504}"/>
          </ac:spMkLst>
        </pc:spChg>
        <pc:spChg chg="add del mod">
          <ac:chgData name="Oğuz Öztekin" userId="33c0df0f-d5fe-4bda-8f43-141ad7af67e3" providerId="ADAL" clId="{48B824AD-1B2A-47A8-8D92-6FE6E622A650}" dt="2024-12-16T09:10:52.074" v="8924"/>
          <ac:spMkLst>
            <pc:docMk/>
            <pc:sldMk cId="865606007" sldId="279"/>
            <ac:spMk id="196" creationId="{C9F38F38-D27E-B9DC-C6FB-93F42F2B6409}"/>
          </ac:spMkLst>
        </pc:spChg>
        <pc:spChg chg="add del mod">
          <ac:chgData name="Oğuz Öztekin" userId="33c0df0f-d5fe-4bda-8f43-141ad7af67e3" providerId="ADAL" clId="{48B824AD-1B2A-47A8-8D92-6FE6E622A650}" dt="2024-12-16T09:10:52.075" v="8927"/>
          <ac:spMkLst>
            <pc:docMk/>
            <pc:sldMk cId="865606007" sldId="279"/>
            <ac:spMk id="197" creationId="{0B643865-A8E3-7035-98EB-B67C4A6BC84E}"/>
          </ac:spMkLst>
        </pc:spChg>
        <pc:spChg chg="add del mod">
          <ac:chgData name="Oğuz Öztekin" userId="33c0df0f-d5fe-4bda-8f43-141ad7af67e3" providerId="ADAL" clId="{48B824AD-1B2A-47A8-8D92-6FE6E622A650}" dt="2024-12-16T09:10:52.076" v="8930"/>
          <ac:spMkLst>
            <pc:docMk/>
            <pc:sldMk cId="865606007" sldId="279"/>
            <ac:spMk id="198" creationId="{70BD03AA-61F8-4F63-2522-958F2B0C4F4E}"/>
          </ac:spMkLst>
        </pc:spChg>
        <pc:spChg chg="add del mod">
          <ac:chgData name="Oğuz Öztekin" userId="33c0df0f-d5fe-4bda-8f43-141ad7af67e3" providerId="ADAL" clId="{48B824AD-1B2A-47A8-8D92-6FE6E622A650}" dt="2024-12-16T09:10:52.077" v="8933"/>
          <ac:spMkLst>
            <pc:docMk/>
            <pc:sldMk cId="865606007" sldId="279"/>
            <ac:spMk id="199" creationId="{B750C2DF-3586-907A-802F-B030B7F5553F}"/>
          </ac:spMkLst>
        </pc:spChg>
        <pc:spChg chg="add del mod">
          <ac:chgData name="Oğuz Öztekin" userId="33c0df0f-d5fe-4bda-8f43-141ad7af67e3" providerId="ADAL" clId="{48B824AD-1B2A-47A8-8D92-6FE6E622A650}" dt="2024-12-16T09:10:52.078" v="8936"/>
          <ac:spMkLst>
            <pc:docMk/>
            <pc:sldMk cId="865606007" sldId="279"/>
            <ac:spMk id="200" creationId="{04985CFD-FE32-FF10-D8B3-7CE2273CF7D3}"/>
          </ac:spMkLst>
        </pc:spChg>
        <pc:spChg chg="add del mod">
          <ac:chgData name="Oğuz Öztekin" userId="33c0df0f-d5fe-4bda-8f43-141ad7af67e3" providerId="ADAL" clId="{48B824AD-1B2A-47A8-8D92-6FE6E622A650}" dt="2024-12-16T09:10:52.078" v="8939"/>
          <ac:spMkLst>
            <pc:docMk/>
            <pc:sldMk cId="865606007" sldId="279"/>
            <ac:spMk id="201" creationId="{007E14DD-D22F-46DD-1C71-C3D12E7F6305}"/>
          </ac:spMkLst>
        </pc:spChg>
        <pc:spChg chg="add del mod">
          <ac:chgData name="Oğuz Öztekin" userId="33c0df0f-d5fe-4bda-8f43-141ad7af67e3" providerId="ADAL" clId="{48B824AD-1B2A-47A8-8D92-6FE6E622A650}" dt="2024-12-16T09:10:52.080" v="8942"/>
          <ac:spMkLst>
            <pc:docMk/>
            <pc:sldMk cId="865606007" sldId="279"/>
            <ac:spMk id="202" creationId="{D39C76E4-3D1B-9532-7D0D-7F0A38E7C997}"/>
          </ac:spMkLst>
        </pc:spChg>
        <pc:spChg chg="add del mod">
          <ac:chgData name="Oğuz Öztekin" userId="33c0df0f-d5fe-4bda-8f43-141ad7af67e3" providerId="ADAL" clId="{48B824AD-1B2A-47A8-8D92-6FE6E622A650}" dt="2024-12-16T09:10:52.081" v="8945"/>
          <ac:spMkLst>
            <pc:docMk/>
            <pc:sldMk cId="865606007" sldId="279"/>
            <ac:spMk id="203" creationId="{5F241F85-5410-2E0F-25D4-048DA59AFC02}"/>
          </ac:spMkLst>
        </pc:spChg>
        <pc:spChg chg="add del mod">
          <ac:chgData name="Oğuz Öztekin" userId="33c0df0f-d5fe-4bda-8f43-141ad7af67e3" providerId="ADAL" clId="{48B824AD-1B2A-47A8-8D92-6FE6E622A650}" dt="2024-12-16T09:10:52.082" v="8948"/>
          <ac:spMkLst>
            <pc:docMk/>
            <pc:sldMk cId="865606007" sldId="279"/>
            <ac:spMk id="204" creationId="{EC3645E1-AFCF-D2A6-B2CC-2E39B493FC51}"/>
          </ac:spMkLst>
        </pc:spChg>
        <pc:spChg chg="add del mod">
          <ac:chgData name="Oğuz Öztekin" userId="33c0df0f-d5fe-4bda-8f43-141ad7af67e3" providerId="ADAL" clId="{48B824AD-1B2A-47A8-8D92-6FE6E622A650}" dt="2024-12-16T09:10:52.082" v="8951"/>
          <ac:spMkLst>
            <pc:docMk/>
            <pc:sldMk cId="865606007" sldId="279"/>
            <ac:spMk id="205" creationId="{5B39664F-0457-AFF4-7F29-D1D4151F6633}"/>
          </ac:spMkLst>
        </pc:spChg>
        <pc:spChg chg="add del mod">
          <ac:chgData name="Oğuz Öztekin" userId="33c0df0f-d5fe-4bda-8f43-141ad7af67e3" providerId="ADAL" clId="{48B824AD-1B2A-47A8-8D92-6FE6E622A650}" dt="2024-12-16T09:10:52.083" v="8954"/>
          <ac:spMkLst>
            <pc:docMk/>
            <pc:sldMk cId="865606007" sldId="279"/>
            <ac:spMk id="206" creationId="{047EB936-3B33-4E0B-1C00-2141668DB99C}"/>
          </ac:spMkLst>
        </pc:spChg>
        <pc:spChg chg="add del mod">
          <ac:chgData name="Oğuz Öztekin" userId="33c0df0f-d5fe-4bda-8f43-141ad7af67e3" providerId="ADAL" clId="{48B824AD-1B2A-47A8-8D92-6FE6E622A650}" dt="2024-12-16T09:10:52.084" v="8957"/>
          <ac:spMkLst>
            <pc:docMk/>
            <pc:sldMk cId="865606007" sldId="279"/>
            <ac:spMk id="207" creationId="{46E967AC-BA35-B7B4-2A33-6F6FCA5FF54B}"/>
          </ac:spMkLst>
        </pc:spChg>
        <pc:spChg chg="add del mod">
          <ac:chgData name="Oğuz Öztekin" userId="33c0df0f-d5fe-4bda-8f43-141ad7af67e3" providerId="ADAL" clId="{48B824AD-1B2A-47A8-8D92-6FE6E622A650}" dt="2024-12-16T09:10:52.085" v="8960"/>
          <ac:spMkLst>
            <pc:docMk/>
            <pc:sldMk cId="865606007" sldId="279"/>
            <ac:spMk id="208" creationId="{B3070123-887D-092D-3F34-5396FA791F94}"/>
          </ac:spMkLst>
        </pc:spChg>
        <pc:spChg chg="add del mod modVis">
          <ac:chgData name="Oğuz Öztekin" userId="33c0df0f-d5fe-4bda-8f43-141ad7af67e3" providerId="ADAL" clId="{48B824AD-1B2A-47A8-8D92-6FE6E622A650}" dt="2024-12-16T09:10:27.685" v="6815"/>
          <ac:spMkLst>
            <pc:docMk/>
            <pc:sldMk cId="865606007" sldId="279"/>
            <ac:spMk id="209" creationId="{6395CEE3-D472-39E7-85EF-26863EC0B36E}"/>
          </ac:spMkLst>
        </pc:spChg>
        <pc:spChg chg="add del mod modVis">
          <ac:chgData name="Oğuz Öztekin" userId="33c0df0f-d5fe-4bda-8f43-141ad7af67e3" providerId="ADAL" clId="{48B824AD-1B2A-47A8-8D92-6FE6E622A650}" dt="2024-12-16T09:10:29.401" v="7234"/>
          <ac:spMkLst>
            <pc:docMk/>
            <pc:sldMk cId="865606007" sldId="279"/>
            <ac:spMk id="229" creationId="{EF7A9703-047D-51A5-ED25-9BDA4073421D}"/>
          </ac:spMkLst>
        </pc:spChg>
        <pc:spChg chg="add del mod modVis">
          <ac:chgData name="Oğuz Öztekin" userId="33c0df0f-d5fe-4bda-8f43-141ad7af67e3" providerId="ADAL" clId="{48B824AD-1B2A-47A8-8D92-6FE6E622A650}" dt="2024-12-16T09:10:30.417" v="7653"/>
          <ac:spMkLst>
            <pc:docMk/>
            <pc:sldMk cId="865606007" sldId="279"/>
            <ac:spMk id="231" creationId="{52930AFA-B318-3DEC-1575-8CE9C0749DF2}"/>
          </ac:spMkLst>
        </pc:spChg>
        <pc:spChg chg="add del mod modVis">
          <ac:chgData name="Oğuz Öztekin" userId="33c0df0f-d5fe-4bda-8f43-141ad7af67e3" providerId="ADAL" clId="{48B824AD-1B2A-47A8-8D92-6FE6E622A650}" dt="2024-12-16T09:10:40.095" v="8072"/>
          <ac:spMkLst>
            <pc:docMk/>
            <pc:sldMk cId="865606007" sldId="279"/>
            <ac:spMk id="233" creationId="{3ABC3E50-D89D-92AE-FBA6-6D072DE64875}"/>
          </ac:spMkLst>
        </pc:spChg>
        <pc:spChg chg="add del mod modVis">
          <ac:chgData name="Oğuz Öztekin" userId="33c0df0f-d5fe-4bda-8f43-141ad7af67e3" providerId="ADAL" clId="{48B824AD-1B2A-47A8-8D92-6FE6E622A650}" dt="2024-12-16T09:10:42.690" v="8491"/>
          <ac:spMkLst>
            <pc:docMk/>
            <pc:sldMk cId="865606007" sldId="279"/>
            <ac:spMk id="235" creationId="{D2788B23-73C0-9E32-5E0B-546B0D11094E}"/>
          </ac:spMkLst>
        </pc:spChg>
        <pc:spChg chg="add del mod modVis">
          <ac:chgData name="Oğuz Öztekin" userId="33c0df0f-d5fe-4bda-8f43-141ad7af67e3" providerId="ADAL" clId="{48B824AD-1B2A-47A8-8D92-6FE6E622A650}" dt="2024-12-16T09:10:48.684" v="8910"/>
          <ac:spMkLst>
            <pc:docMk/>
            <pc:sldMk cId="865606007" sldId="279"/>
            <ac:spMk id="237" creationId="{175F1B3F-9AFF-5512-85CB-DE6B4BF6E360}"/>
          </ac:spMkLst>
        </pc:spChg>
        <pc:spChg chg="add del mod modVis">
          <ac:chgData name="Oğuz Öztekin" userId="33c0df0f-d5fe-4bda-8f43-141ad7af67e3" providerId="ADAL" clId="{48B824AD-1B2A-47A8-8D92-6FE6E622A650}" dt="2024-12-16T09:10:52.185" v="9089"/>
          <ac:spMkLst>
            <pc:docMk/>
            <pc:sldMk cId="865606007" sldId="279"/>
            <ac:spMk id="239" creationId="{EAFA3E26-7E0B-8CA8-6EF9-C6EE01CA6B78}"/>
          </ac:spMkLst>
        </pc:spChg>
        <pc:spChg chg="add del mod modVis">
          <ac:chgData name="Oğuz Öztekin" userId="33c0df0f-d5fe-4bda-8f43-141ad7af67e3" providerId="ADAL" clId="{48B824AD-1B2A-47A8-8D92-6FE6E622A650}" dt="2024-12-16T09:11:00.079" v="9198"/>
          <ac:spMkLst>
            <pc:docMk/>
            <pc:sldMk cId="865606007" sldId="279"/>
            <ac:spMk id="241" creationId="{B5989105-0EFC-2050-0487-62FE68AC669E}"/>
          </ac:spMkLst>
        </pc:spChg>
        <pc:spChg chg="add del mod modVis">
          <ac:chgData name="Oğuz Öztekin" userId="33c0df0f-d5fe-4bda-8f43-141ad7af67e3" providerId="ADAL" clId="{48B824AD-1B2A-47A8-8D92-6FE6E622A650}" dt="2024-12-16T09:11:02.176" v="9307"/>
          <ac:spMkLst>
            <pc:docMk/>
            <pc:sldMk cId="865606007" sldId="279"/>
            <ac:spMk id="243" creationId="{D56EC35C-2A50-9C34-2CF8-CD45E172DF72}"/>
          </ac:spMkLst>
        </pc:spChg>
        <pc:spChg chg="add del mod modVis">
          <ac:chgData name="Oğuz Öztekin" userId="33c0df0f-d5fe-4bda-8f43-141ad7af67e3" providerId="ADAL" clId="{48B824AD-1B2A-47A8-8D92-6FE6E622A650}" dt="2024-12-16T09:11:04.866" v="9436"/>
          <ac:spMkLst>
            <pc:docMk/>
            <pc:sldMk cId="865606007" sldId="279"/>
            <ac:spMk id="245" creationId="{BD99A308-121C-0AEB-B6B9-E2BAB046DB93}"/>
          </ac:spMkLst>
        </pc:spChg>
        <pc:spChg chg="add del mod modVis">
          <ac:chgData name="Oğuz Öztekin" userId="33c0df0f-d5fe-4bda-8f43-141ad7af67e3" providerId="ADAL" clId="{48B824AD-1B2A-47A8-8D92-6FE6E622A650}" dt="2024-12-16T09:11:35.914" v="9637"/>
          <ac:spMkLst>
            <pc:docMk/>
            <pc:sldMk cId="865606007" sldId="279"/>
            <ac:spMk id="247" creationId="{861702CF-7C3F-3651-D2D5-BF62086DDE1A}"/>
          </ac:spMkLst>
        </pc:spChg>
        <pc:spChg chg="add del mod modVis">
          <ac:chgData name="Oğuz Öztekin" userId="33c0df0f-d5fe-4bda-8f43-141ad7af67e3" providerId="ADAL" clId="{48B824AD-1B2A-47A8-8D92-6FE6E622A650}" dt="2024-12-16T09:17:24.853" v="18046"/>
          <ac:spMkLst>
            <pc:docMk/>
            <pc:sldMk cId="865606007" sldId="279"/>
            <ac:spMk id="249" creationId="{D4821B4D-363D-56C2-E364-BEF01066C4F9}"/>
          </ac:spMkLst>
        </pc:spChg>
        <pc:spChg chg="add del mod modVis">
          <ac:chgData name="Oğuz Öztekin" userId="33c0df0f-d5fe-4bda-8f43-141ad7af67e3" providerId="ADAL" clId="{48B824AD-1B2A-47A8-8D92-6FE6E622A650}" dt="2024-12-16T09:17:28.589" v="18160"/>
          <ac:spMkLst>
            <pc:docMk/>
            <pc:sldMk cId="865606007" sldId="279"/>
            <ac:spMk id="251" creationId="{FA394C63-3154-567C-78B8-8BB799805374}"/>
          </ac:spMkLst>
        </pc:spChg>
        <pc:spChg chg="add del mod modVis">
          <ac:chgData name="Oğuz Öztekin" userId="33c0df0f-d5fe-4bda-8f43-141ad7af67e3" providerId="ADAL" clId="{48B824AD-1B2A-47A8-8D92-6FE6E622A650}" dt="2024-12-16T09:17:36.320" v="18818"/>
          <ac:spMkLst>
            <pc:docMk/>
            <pc:sldMk cId="865606007" sldId="279"/>
            <ac:spMk id="253" creationId="{423562CC-8CFE-F374-DA26-76F1144A79CA}"/>
          </ac:spMkLst>
        </pc:spChg>
        <pc:spChg chg="add del mod">
          <ac:chgData name="Oğuz Öztekin" userId="33c0df0f-d5fe-4bda-8f43-141ad7af67e3" providerId="ADAL" clId="{48B824AD-1B2A-47A8-8D92-6FE6E622A650}" dt="2024-12-16T09:18:44.925" v="21578"/>
          <ac:spMkLst>
            <pc:docMk/>
            <pc:sldMk cId="865606007" sldId="279"/>
            <ac:spMk id="254" creationId="{140537F4-28BC-1C55-885D-CC94C7FB5C22}"/>
          </ac:spMkLst>
        </pc:spChg>
        <pc:spChg chg="add del mod">
          <ac:chgData name="Oğuz Öztekin" userId="33c0df0f-d5fe-4bda-8f43-141ad7af67e3" providerId="ADAL" clId="{48B824AD-1B2A-47A8-8D92-6FE6E622A650}" dt="2024-12-16T09:18:44.273" v="21454"/>
          <ac:spMkLst>
            <pc:docMk/>
            <pc:sldMk cId="865606007" sldId="279"/>
            <ac:spMk id="255" creationId="{E3B9D2A0-9561-ADF4-5D56-12279CB1E074}"/>
          </ac:spMkLst>
        </pc:spChg>
        <pc:spChg chg="add del mod">
          <ac:chgData name="Oğuz Öztekin" userId="33c0df0f-d5fe-4bda-8f43-141ad7af67e3" providerId="ADAL" clId="{48B824AD-1B2A-47A8-8D92-6FE6E622A650}" dt="2024-12-16T09:18:43.338" v="21327"/>
          <ac:spMkLst>
            <pc:docMk/>
            <pc:sldMk cId="865606007" sldId="279"/>
            <ac:spMk id="256" creationId="{B6924281-D1BF-DD7D-ABDC-EB507942BC50}"/>
          </ac:spMkLst>
        </pc:spChg>
        <pc:spChg chg="add del mod">
          <ac:chgData name="Oğuz Öztekin" userId="33c0df0f-d5fe-4bda-8f43-141ad7af67e3" providerId="ADAL" clId="{48B824AD-1B2A-47A8-8D92-6FE6E622A650}" dt="2024-12-16T09:18:42.133" v="21198"/>
          <ac:spMkLst>
            <pc:docMk/>
            <pc:sldMk cId="865606007" sldId="279"/>
            <ac:spMk id="257" creationId="{BAB59622-8448-1B83-1F97-514AA8C51144}"/>
          </ac:spMkLst>
        </pc:spChg>
        <pc:spChg chg="add del mod">
          <ac:chgData name="Oğuz Öztekin" userId="33c0df0f-d5fe-4bda-8f43-141ad7af67e3" providerId="ADAL" clId="{48B824AD-1B2A-47A8-8D92-6FE6E622A650}" dt="2024-12-16T09:18:39.911" v="20936"/>
          <ac:spMkLst>
            <pc:docMk/>
            <pc:sldMk cId="865606007" sldId="279"/>
            <ac:spMk id="258" creationId="{76551319-163C-2A61-08CD-EFB0A779F6B4}"/>
          </ac:spMkLst>
        </pc:spChg>
        <pc:spChg chg="add del mod">
          <ac:chgData name="Oğuz Öztekin" userId="33c0df0f-d5fe-4bda-8f43-141ad7af67e3" providerId="ADAL" clId="{48B824AD-1B2A-47A8-8D92-6FE6E622A650}" dt="2024-12-16T09:18:38.143" v="20671"/>
          <ac:spMkLst>
            <pc:docMk/>
            <pc:sldMk cId="865606007" sldId="279"/>
            <ac:spMk id="259" creationId="{79E40723-596B-EDE5-A47B-5680A83130AF}"/>
          </ac:spMkLst>
        </pc:spChg>
        <pc:spChg chg="add del mod">
          <ac:chgData name="Oğuz Öztekin" userId="33c0df0f-d5fe-4bda-8f43-141ad7af67e3" providerId="ADAL" clId="{48B824AD-1B2A-47A8-8D92-6FE6E622A650}" dt="2024-12-16T09:18:33.334" v="20268"/>
          <ac:spMkLst>
            <pc:docMk/>
            <pc:sldMk cId="865606007" sldId="279"/>
            <ac:spMk id="260" creationId="{3E820B8B-5F6B-374D-DB30-4A320F2D9774}"/>
          </ac:spMkLst>
        </pc:spChg>
        <pc:spChg chg="add del mod">
          <ac:chgData name="Oğuz Öztekin" userId="33c0df0f-d5fe-4bda-8f43-141ad7af67e3" providerId="ADAL" clId="{48B824AD-1B2A-47A8-8D92-6FE6E622A650}" dt="2024-12-16T09:18:50.451" v="22094"/>
          <ac:spMkLst>
            <pc:docMk/>
            <pc:sldMk cId="865606007" sldId="279"/>
            <ac:spMk id="261" creationId="{730C57DF-7962-C050-9AFF-B9D015914CDA}"/>
          </ac:spMkLst>
        </pc:spChg>
        <pc:spChg chg="add del mod">
          <ac:chgData name="Oğuz Öztekin" userId="33c0df0f-d5fe-4bda-8f43-141ad7af67e3" providerId="ADAL" clId="{48B824AD-1B2A-47A8-8D92-6FE6E622A650}" dt="2024-12-16T09:18:49.187" v="21976"/>
          <ac:spMkLst>
            <pc:docMk/>
            <pc:sldMk cId="865606007" sldId="279"/>
            <ac:spMk id="262" creationId="{D28E5348-06A1-A268-E42D-20AB935E30F3}"/>
          </ac:spMkLst>
        </pc:spChg>
        <pc:spChg chg="add del mod">
          <ac:chgData name="Oğuz Öztekin" userId="33c0df0f-d5fe-4bda-8f43-141ad7af67e3" providerId="ADAL" clId="{48B824AD-1B2A-47A8-8D92-6FE6E622A650}" dt="2024-12-16T09:18:47.430" v="21856"/>
          <ac:spMkLst>
            <pc:docMk/>
            <pc:sldMk cId="865606007" sldId="279"/>
            <ac:spMk id="263" creationId="{7BBFAFE4-951A-80ED-D430-D1CE00444530}"/>
          </ac:spMkLst>
        </pc:spChg>
        <pc:spChg chg="add del mod">
          <ac:chgData name="Oğuz Öztekin" userId="33c0df0f-d5fe-4bda-8f43-141ad7af67e3" providerId="ADAL" clId="{48B824AD-1B2A-47A8-8D92-6FE6E622A650}" dt="2024-12-16T09:21:02.782" v="25856"/>
          <ac:spMkLst>
            <pc:docMk/>
            <pc:sldMk cId="865606007" sldId="279"/>
            <ac:spMk id="265" creationId="{D609B787-A8E5-F951-B717-ACD2F6AD7B4A}"/>
          </ac:spMkLst>
        </pc:spChg>
        <pc:spChg chg="add del mod">
          <ac:chgData name="Oğuz Öztekin" userId="33c0df0f-d5fe-4bda-8f43-141ad7af67e3" providerId="ADAL" clId="{48B824AD-1B2A-47A8-8D92-6FE6E622A650}" dt="2024-12-16T09:21:02.783" v="25858"/>
          <ac:spMkLst>
            <pc:docMk/>
            <pc:sldMk cId="865606007" sldId="279"/>
            <ac:spMk id="266" creationId="{3D671472-0BAD-F0B0-D1D2-73928F24799F}"/>
          </ac:spMkLst>
        </pc:spChg>
        <pc:spChg chg="add del mod modVis">
          <ac:chgData name="Oğuz Öztekin" userId="33c0df0f-d5fe-4bda-8f43-141ad7af67e3" providerId="ADAL" clId="{48B824AD-1B2A-47A8-8D92-6FE6E622A650}" dt="2024-12-16T09:18:11.061" v="19925"/>
          <ac:spMkLst>
            <pc:docMk/>
            <pc:sldMk cId="865606007" sldId="279"/>
            <ac:spMk id="267" creationId="{D63D5E16-4EDA-A165-4864-8FDBE9988EB4}"/>
          </ac:spMkLst>
        </pc:spChg>
        <pc:spChg chg="add del mod">
          <ac:chgData name="Oğuz Öztekin" userId="33c0df0f-d5fe-4bda-8f43-141ad7af67e3" providerId="ADAL" clId="{48B824AD-1B2A-47A8-8D92-6FE6E622A650}" dt="2024-12-16T09:21:02.876" v="25983"/>
          <ac:spMkLst>
            <pc:docMk/>
            <pc:sldMk cId="865606007" sldId="279"/>
            <ac:spMk id="268" creationId="{FBE4ED5D-0E05-77BA-2004-42FB4B9EA7BD}"/>
          </ac:spMkLst>
        </pc:spChg>
        <pc:spChg chg="add del mod">
          <ac:chgData name="Oğuz Öztekin" userId="33c0df0f-d5fe-4bda-8f43-141ad7af67e3" providerId="ADAL" clId="{48B824AD-1B2A-47A8-8D92-6FE6E622A650}" dt="2024-12-16T09:21:02.872" v="25968"/>
          <ac:spMkLst>
            <pc:docMk/>
            <pc:sldMk cId="865606007" sldId="279"/>
            <ac:spMk id="269" creationId="{B30F0261-9239-ED5F-A4CB-8E27C379B936}"/>
          </ac:spMkLst>
        </pc:spChg>
        <pc:spChg chg="add del mod">
          <ac:chgData name="Oğuz Öztekin" userId="33c0df0f-d5fe-4bda-8f43-141ad7af67e3" providerId="ADAL" clId="{48B824AD-1B2A-47A8-8D92-6FE6E622A650}" dt="2024-12-16T09:21:02.872" v="25970"/>
          <ac:spMkLst>
            <pc:docMk/>
            <pc:sldMk cId="865606007" sldId="279"/>
            <ac:spMk id="270" creationId="{935541BB-05E9-9782-BD98-3C428806426C}"/>
          </ac:spMkLst>
        </pc:spChg>
        <pc:spChg chg="add del mod">
          <ac:chgData name="Oğuz Öztekin" userId="33c0df0f-d5fe-4bda-8f43-141ad7af67e3" providerId="ADAL" clId="{48B824AD-1B2A-47A8-8D92-6FE6E622A650}" dt="2024-12-16T09:21:02.872" v="25971"/>
          <ac:spMkLst>
            <pc:docMk/>
            <pc:sldMk cId="865606007" sldId="279"/>
            <ac:spMk id="271" creationId="{E7B10EEB-7F37-4017-5F1F-BBF1BAEE4C3C}"/>
          </ac:spMkLst>
        </pc:spChg>
        <pc:spChg chg="add del mod">
          <ac:chgData name="Oğuz Öztekin" userId="33c0df0f-d5fe-4bda-8f43-141ad7af67e3" providerId="ADAL" clId="{48B824AD-1B2A-47A8-8D92-6FE6E622A650}" dt="2024-12-16T09:21:02.873" v="25973"/>
          <ac:spMkLst>
            <pc:docMk/>
            <pc:sldMk cId="865606007" sldId="279"/>
            <ac:spMk id="272" creationId="{9A761D58-F679-88F9-8494-38B59BF5FAAA}"/>
          </ac:spMkLst>
        </pc:spChg>
        <pc:spChg chg="add del mod">
          <ac:chgData name="Oğuz Öztekin" userId="33c0df0f-d5fe-4bda-8f43-141ad7af67e3" providerId="ADAL" clId="{48B824AD-1B2A-47A8-8D92-6FE6E622A650}" dt="2024-12-16T09:21:02.873" v="25974"/>
          <ac:spMkLst>
            <pc:docMk/>
            <pc:sldMk cId="865606007" sldId="279"/>
            <ac:spMk id="273" creationId="{31631A2C-A0A9-C0B7-13CC-8629F57D0AFD}"/>
          </ac:spMkLst>
        </pc:spChg>
        <pc:spChg chg="add del mod">
          <ac:chgData name="Oğuz Öztekin" userId="33c0df0f-d5fe-4bda-8f43-141ad7af67e3" providerId="ADAL" clId="{48B824AD-1B2A-47A8-8D92-6FE6E622A650}" dt="2024-12-16T09:21:02.874" v="25976"/>
          <ac:spMkLst>
            <pc:docMk/>
            <pc:sldMk cId="865606007" sldId="279"/>
            <ac:spMk id="274" creationId="{A7632757-36BE-6160-CC64-3FA634A443A7}"/>
          </ac:spMkLst>
        </pc:spChg>
        <pc:spChg chg="add del mod">
          <ac:chgData name="Oğuz Öztekin" userId="33c0df0f-d5fe-4bda-8f43-141ad7af67e3" providerId="ADAL" clId="{48B824AD-1B2A-47A8-8D92-6FE6E622A650}" dt="2024-12-16T09:21:02.874" v="25977"/>
          <ac:spMkLst>
            <pc:docMk/>
            <pc:sldMk cId="865606007" sldId="279"/>
            <ac:spMk id="275" creationId="{E6A566E6-11B1-CB1C-30C7-09F2C26943BE}"/>
          </ac:spMkLst>
        </pc:spChg>
        <pc:spChg chg="add del mod">
          <ac:chgData name="Oğuz Öztekin" userId="33c0df0f-d5fe-4bda-8f43-141ad7af67e3" providerId="ADAL" clId="{48B824AD-1B2A-47A8-8D92-6FE6E622A650}" dt="2024-12-16T09:21:02.874" v="25979"/>
          <ac:spMkLst>
            <pc:docMk/>
            <pc:sldMk cId="865606007" sldId="279"/>
            <ac:spMk id="276" creationId="{501973E8-D1D2-4CAB-5800-54959F54006D}"/>
          </ac:spMkLst>
        </pc:spChg>
        <pc:spChg chg="add del mod">
          <ac:chgData name="Oğuz Öztekin" userId="33c0df0f-d5fe-4bda-8f43-141ad7af67e3" providerId="ADAL" clId="{48B824AD-1B2A-47A8-8D92-6FE6E622A650}" dt="2024-12-16T09:21:02.875" v="25980"/>
          <ac:spMkLst>
            <pc:docMk/>
            <pc:sldMk cId="865606007" sldId="279"/>
            <ac:spMk id="277" creationId="{209FDB8B-3262-7872-8CB4-20F4F0991273}"/>
          </ac:spMkLst>
        </pc:spChg>
        <pc:spChg chg="add del mod">
          <ac:chgData name="Oğuz Öztekin" userId="33c0df0f-d5fe-4bda-8f43-141ad7af67e3" providerId="ADAL" clId="{48B824AD-1B2A-47A8-8D92-6FE6E622A650}" dt="2024-12-16T09:21:02.875" v="25982"/>
          <ac:spMkLst>
            <pc:docMk/>
            <pc:sldMk cId="865606007" sldId="279"/>
            <ac:spMk id="278" creationId="{1707EC08-CE4E-371D-6359-3E30AAEB5A51}"/>
          </ac:spMkLst>
        </pc:spChg>
        <pc:spChg chg="add del mod">
          <ac:chgData name="Oğuz Öztekin" userId="33c0df0f-d5fe-4bda-8f43-141ad7af67e3" providerId="ADAL" clId="{48B824AD-1B2A-47A8-8D92-6FE6E622A650}" dt="2024-12-16T09:21:02.880" v="25999"/>
          <ac:spMkLst>
            <pc:docMk/>
            <pc:sldMk cId="865606007" sldId="279"/>
            <ac:spMk id="279" creationId="{199A404E-7DB9-753B-FEA1-68DFCCD7D240}"/>
          </ac:spMkLst>
        </pc:spChg>
        <pc:spChg chg="add del mod">
          <ac:chgData name="Oğuz Öztekin" userId="33c0df0f-d5fe-4bda-8f43-141ad7af67e3" providerId="ADAL" clId="{48B824AD-1B2A-47A8-8D92-6FE6E622A650}" dt="2024-12-16T09:21:02.876" v="25985"/>
          <ac:spMkLst>
            <pc:docMk/>
            <pc:sldMk cId="865606007" sldId="279"/>
            <ac:spMk id="280" creationId="{AFF845FA-EF97-70C5-0296-71501CE00308}"/>
          </ac:spMkLst>
        </pc:spChg>
        <pc:spChg chg="add del mod">
          <ac:chgData name="Oğuz Öztekin" userId="33c0df0f-d5fe-4bda-8f43-141ad7af67e3" providerId="ADAL" clId="{48B824AD-1B2A-47A8-8D92-6FE6E622A650}" dt="2024-12-16T09:21:02.876" v="25986"/>
          <ac:spMkLst>
            <pc:docMk/>
            <pc:sldMk cId="865606007" sldId="279"/>
            <ac:spMk id="281" creationId="{561910B6-E590-EBD4-5638-F78BB476EF5F}"/>
          </ac:spMkLst>
        </pc:spChg>
        <pc:spChg chg="add del mod">
          <ac:chgData name="Oğuz Öztekin" userId="33c0df0f-d5fe-4bda-8f43-141ad7af67e3" providerId="ADAL" clId="{48B824AD-1B2A-47A8-8D92-6FE6E622A650}" dt="2024-12-16T09:21:02.877" v="25988"/>
          <ac:spMkLst>
            <pc:docMk/>
            <pc:sldMk cId="865606007" sldId="279"/>
            <ac:spMk id="282" creationId="{CBDDD2CD-B828-CC72-1462-C3023BBE7043}"/>
          </ac:spMkLst>
        </pc:spChg>
        <pc:spChg chg="add del mod">
          <ac:chgData name="Oğuz Öztekin" userId="33c0df0f-d5fe-4bda-8f43-141ad7af67e3" providerId="ADAL" clId="{48B824AD-1B2A-47A8-8D92-6FE6E622A650}" dt="2024-12-16T09:21:02.877" v="25989"/>
          <ac:spMkLst>
            <pc:docMk/>
            <pc:sldMk cId="865606007" sldId="279"/>
            <ac:spMk id="283" creationId="{169A6DC9-6AD6-5504-B4AD-2A062D56FC19}"/>
          </ac:spMkLst>
        </pc:spChg>
        <pc:spChg chg="add del mod">
          <ac:chgData name="Oğuz Öztekin" userId="33c0df0f-d5fe-4bda-8f43-141ad7af67e3" providerId="ADAL" clId="{48B824AD-1B2A-47A8-8D92-6FE6E622A650}" dt="2024-12-16T09:21:02.877" v="25991"/>
          <ac:spMkLst>
            <pc:docMk/>
            <pc:sldMk cId="865606007" sldId="279"/>
            <ac:spMk id="284" creationId="{633A9120-A936-C358-A7F3-897FE625A055}"/>
          </ac:spMkLst>
        </pc:spChg>
        <pc:spChg chg="add del mod">
          <ac:chgData name="Oğuz Öztekin" userId="33c0df0f-d5fe-4bda-8f43-141ad7af67e3" providerId="ADAL" clId="{48B824AD-1B2A-47A8-8D92-6FE6E622A650}" dt="2024-12-16T09:21:02.878" v="25992"/>
          <ac:spMkLst>
            <pc:docMk/>
            <pc:sldMk cId="865606007" sldId="279"/>
            <ac:spMk id="285" creationId="{AD7D3068-AB11-3035-7987-FC9E20FC3289}"/>
          </ac:spMkLst>
        </pc:spChg>
        <pc:spChg chg="add del mod">
          <ac:chgData name="Oğuz Öztekin" userId="33c0df0f-d5fe-4bda-8f43-141ad7af67e3" providerId="ADAL" clId="{48B824AD-1B2A-47A8-8D92-6FE6E622A650}" dt="2024-12-16T09:21:02.878" v="25994"/>
          <ac:spMkLst>
            <pc:docMk/>
            <pc:sldMk cId="865606007" sldId="279"/>
            <ac:spMk id="286" creationId="{44F948F9-4B3E-A178-B651-47E82D5CF58A}"/>
          </ac:spMkLst>
        </pc:spChg>
        <pc:spChg chg="add del mod">
          <ac:chgData name="Oğuz Öztekin" userId="33c0df0f-d5fe-4bda-8f43-141ad7af67e3" providerId="ADAL" clId="{48B824AD-1B2A-47A8-8D92-6FE6E622A650}" dt="2024-12-16T09:21:02.878" v="25995"/>
          <ac:spMkLst>
            <pc:docMk/>
            <pc:sldMk cId="865606007" sldId="279"/>
            <ac:spMk id="287" creationId="{2C852723-8FB9-A408-4818-683E6E043F20}"/>
          </ac:spMkLst>
        </pc:spChg>
        <pc:spChg chg="add del mod modVis">
          <ac:chgData name="Oğuz Öztekin" userId="33c0df0f-d5fe-4bda-8f43-141ad7af67e3" providerId="ADAL" clId="{48B824AD-1B2A-47A8-8D92-6FE6E622A650}" dt="2024-12-16T09:18:30.510" v="20061"/>
          <ac:spMkLst>
            <pc:docMk/>
            <pc:sldMk cId="865606007" sldId="279"/>
            <ac:spMk id="289" creationId="{2F11B46C-3835-17F5-E0F2-B23AC790DAEA}"/>
          </ac:spMkLst>
        </pc:spChg>
        <pc:spChg chg="add del mod modVis">
          <ac:chgData name="Oğuz Öztekin" userId="33c0df0f-d5fe-4bda-8f43-141ad7af67e3" providerId="ADAL" clId="{48B824AD-1B2A-47A8-8D92-6FE6E622A650}" dt="2024-12-16T09:18:32.486" v="20200"/>
          <ac:spMkLst>
            <pc:docMk/>
            <pc:sldMk cId="865606007" sldId="279"/>
            <ac:spMk id="291" creationId="{D55E4DAB-9204-70D2-9691-05A217A7DC7A}"/>
          </ac:spMkLst>
        </pc:spChg>
        <pc:spChg chg="add del mod modVis">
          <ac:chgData name="Oğuz Öztekin" userId="33c0df0f-d5fe-4bda-8f43-141ad7af67e3" providerId="ADAL" clId="{48B824AD-1B2A-47A8-8D92-6FE6E622A650}" dt="2024-12-16T09:18:33.375" v="20336"/>
          <ac:spMkLst>
            <pc:docMk/>
            <pc:sldMk cId="865606007" sldId="279"/>
            <ac:spMk id="293" creationId="{F7A90ACF-6439-A207-C3ED-D0D3C982244D}"/>
          </ac:spMkLst>
        </pc:spChg>
        <pc:spChg chg="add del mod modVis">
          <ac:chgData name="Oğuz Öztekin" userId="33c0df0f-d5fe-4bda-8f43-141ad7af67e3" providerId="ADAL" clId="{48B824AD-1B2A-47A8-8D92-6FE6E622A650}" dt="2024-12-16T09:18:34.757" v="20470"/>
          <ac:spMkLst>
            <pc:docMk/>
            <pc:sldMk cId="865606007" sldId="279"/>
            <ac:spMk id="295" creationId="{8BBDE2D4-1334-A77E-E870-86135051B27B}"/>
          </ac:spMkLst>
        </pc:spChg>
        <pc:spChg chg="add del mod modVis">
          <ac:chgData name="Oğuz Öztekin" userId="33c0df0f-d5fe-4bda-8f43-141ad7af67e3" providerId="ADAL" clId="{48B824AD-1B2A-47A8-8D92-6FE6E622A650}" dt="2024-12-16T09:18:35.637" v="20607"/>
          <ac:spMkLst>
            <pc:docMk/>
            <pc:sldMk cId="865606007" sldId="279"/>
            <ac:spMk id="297" creationId="{D3F59F2A-0C51-6BF8-EE8D-0F967B2BB9AA}"/>
          </ac:spMkLst>
        </pc:spChg>
        <pc:spChg chg="add del mod modVis">
          <ac:chgData name="Oğuz Öztekin" userId="33c0df0f-d5fe-4bda-8f43-141ad7af67e3" providerId="ADAL" clId="{48B824AD-1B2A-47A8-8D92-6FE6E622A650}" dt="2024-12-16T09:18:38.186" v="20741"/>
          <ac:spMkLst>
            <pc:docMk/>
            <pc:sldMk cId="865606007" sldId="279"/>
            <ac:spMk id="299" creationId="{240FE398-AF93-5F8C-3593-B0080D76D758}"/>
          </ac:spMkLst>
        </pc:spChg>
        <pc:spChg chg="add del mod modVis">
          <ac:chgData name="Oğuz Öztekin" userId="33c0df0f-d5fe-4bda-8f43-141ad7af67e3" providerId="ADAL" clId="{48B824AD-1B2A-47A8-8D92-6FE6E622A650}" dt="2024-12-16T09:18:39.089" v="20876"/>
          <ac:spMkLst>
            <pc:docMk/>
            <pc:sldMk cId="865606007" sldId="279"/>
            <ac:spMk id="301" creationId="{EE2984E0-FAE8-A753-4F24-8F1ED476F68F}"/>
          </ac:spMkLst>
        </pc:spChg>
        <pc:spChg chg="add del mod modVis">
          <ac:chgData name="Oğuz Öztekin" userId="33c0df0f-d5fe-4bda-8f43-141ad7af67e3" providerId="ADAL" clId="{48B824AD-1B2A-47A8-8D92-6FE6E622A650}" dt="2024-12-16T09:18:39.962" v="21008"/>
          <ac:spMkLst>
            <pc:docMk/>
            <pc:sldMk cId="865606007" sldId="279"/>
            <ac:spMk id="303" creationId="{84B9EB2E-76DD-9EFF-6406-2198AF63DECA}"/>
          </ac:spMkLst>
        </pc:spChg>
        <pc:spChg chg="add del mod modVis">
          <ac:chgData name="Oğuz Öztekin" userId="33c0df0f-d5fe-4bda-8f43-141ad7af67e3" providerId="ADAL" clId="{48B824AD-1B2A-47A8-8D92-6FE6E622A650}" dt="2024-12-16T09:18:40.900" v="21141"/>
          <ac:spMkLst>
            <pc:docMk/>
            <pc:sldMk cId="865606007" sldId="279"/>
            <ac:spMk id="305" creationId="{BC0C5A56-BE34-256A-B0C7-63AAC4324797}"/>
          </ac:spMkLst>
        </pc:spChg>
        <pc:spChg chg="add del mod modVis">
          <ac:chgData name="Oğuz Öztekin" userId="33c0df0f-d5fe-4bda-8f43-141ad7af67e3" providerId="ADAL" clId="{48B824AD-1B2A-47A8-8D92-6FE6E622A650}" dt="2024-12-16T09:18:42.179" v="21274"/>
          <ac:spMkLst>
            <pc:docMk/>
            <pc:sldMk cId="865606007" sldId="279"/>
            <ac:spMk id="307" creationId="{6DEDDF43-5F44-2B0E-4B2D-6826065C5E26}"/>
          </ac:spMkLst>
        </pc:spChg>
        <pc:spChg chg="add del mod modVis">
          <ac:chgData name="Oğuz Öztekin" userId="33c0df0f-d5fe-4bda-8f43-141ad7af67e3" providerId="ADAL" clId="{48B824AD-1B2A-47A8-8D92-6FE6E622A650}" dt="2024-12-16T09:18:43.385" v="21405"/>
          <ac:spMkLst>
            <pc:docMk/>
            <pc:sldMk cId="865606007" sldId="279"/>
            <ac:spMk id="309" creationId="{BB512A38-EF1E-8C36-E66C-46CF3D52363F}"/>
          </ac:spMkLst>
        </pc:spChg>
        <pc:spChg chg="add del mod modVis">
          <ac:chgData name="Oğuz Öztekin" userId="33c0df0f-d5fe-4bda-8f43-141ad7af67e3" providerId="ADAL" clId="{48B824AD-1B2A-47A8-8D92-6FE6E622A650}" dt="2024-12-16T09:18:44.320" v="21534"/>
          <ac:spMkLst>
            <pc:docMk/>
            <pc:sldMk cId="865606007" sldId="279"/>
            <ac:spMk id="311" creationId="{2F899AA9-863B-1E91-B549-2D9640E117F6}"/>
          </ac:spMkLst>
        </pc:spChg>
        <pc:spChg chg="add del mod modVis">
          <ac:chgData name="Oğuz Öztekin" userId="33c0df0f-d5fe-4bda-8f43-141ad7af67e3" providerId="ADAL" clId="{48B824AD-1B2A-47A8-8D92-6FE6E622A650}" dt="2024-12-16T09:18:44.971" v="21658"/>
          <ac:spMkLst>
            <pc:docMk/>
            <pc:sldMk cId="865606007" sldId="279"/>
            <ac:spMk id="313" creationId="{782A531E-AEC6-C3F0-8E68-A5D72AD4D564}"/>
          </ac:spMkLst>
        </pc:spChg>
        <pc:spChg chg="add del mod modVis">
          <ac:chgData name="Oğuz Öztekin" userId="33c0df0f-d5fe-4bda-8f43-141ad7af67e3" providerId="ADAL" clId="{48B824AD-1B2A-47A8-8D92-6FE6E622A650}" dt="2024-12-16T09:18:46.629" v="21783"/>
          <ac:spMkLst>
            <pc:docMk/>
            <pc:sldMk cId="865606007" sldId="279"/>
            <ac:spMk id="315" creationId="{4DB6A117-3FF4-4673-2B5D-58D08B2A153F}"/>
          </ac:spMkLst>
        </pc:spChg>
        <pc:spChg chg="add del mod modVis">
          <ac:chgData name="Oğuz Öztekin" userId="33c0df0f-d5fe-4bda-8f43-141ad7af67e3" providerId="ADAL" clId="{48B824AD-1B2A-47A8-8D92-6FE6E622A650}" dt="2024-12-16T09:18:47.462" v="21905"/>
          <ac:spMkLst>
            <pc:docMk/>
            <pc:sldMk cId="865606007" sldId="279"/>
            <ac:spMk id="317" creationId="{386A9D16-E1F1-FC61-17C9-ECBFEE0AE74B}"/>
          </ac:spMkLst>
        </pc:spChg>
        <pc:spChg chg="add del mod modVis">
          <ac:chgData name="Oğuz Öztekin" userId="33c0df0f-d5fe-4bda-8f43-141ad7af67e3" providerId="ADAL" clId="{48B824AD-1B2A-47A8-8D92-6FE6E622A650}" dt="2024-12-16T09:18:49.220" v="22029"/>
          <ac:spMkLst>
            <pc:docMk/>
            <pc:sldMk cId="865606007" sldId="279"/>
            <ac:spMk id="319" creationId="{E0251243-3946-7F78-3CF6-F6EFCE089C53}"/>
          </ac:spMkLst>
        </pc:spChg>
        <pc:spChg chg="add del mod modVis">
          <ac:chgData name="Oğuz Öztekin" userId="33c0df0f-d5fe-4bda-8f43-141ad7af67e3" providerId="ADAL" clId="{48B824AD-1B2A-47A8-8D92-6FE6E622A650}" dt="2024-12-16T09:18:50.483" v="22147"/>
          <ac:spMkLst>
            <pc:docMk/>
            <pc:sldMk cId="865606007" sldId="279"/>
            <ac:spMk id="321" creationId="{2B55FBF5-0EEB-B3FE-5E3D-A9633818BC1D}"/>
          </ac:spMkLst>
        </pc:spChg>
        <pc:spChg chg="add del mod modVis">
          <ac:chgData name="Oğuz Öztekin" userId="33c0df0f-d5fe-4bda-8f43-141ad7af67e3" providerId="ADAL" clId="{48B824AD-1B2A-47A8-8D92-6FE6E622A650}" dt="2024-12-16T09:20:22.070" v="24867"/>
          <ac:spMkLst>
            <pc:docMk/>
            <pc:sldMk cId="865606007" sldId="279"/>
            <ac:spMk id="323" creationId="{85442CD1-808D-CF36-CECD-6245F7134D45}"/>
          </ac:spMkLst>
        </pc:spChg>
        <pc:spChg chg="add del mod modVis">
          <ac:chgData name="Oğuz Öztekin" userId="33c0df0f-d5fe-4bda-8f43-141ad7af67e3" providerId="ADAL" clId="{48B824AD-1B2A-47A8-8D92-6FE6E622A650}" dt="2024-12-16T09:20:21.443" v="24831"/>
          <ac:spMkLst>
            <pc:docMk/>
            <pc:sldMk cId="865606007" sldId="279"/>
            <ac:spMk id="325" creationId="{A5CF2C2C-757E-86BE-41CA-3711D779363A}"/>
          </ac:spMkLst>
        </pc:spChg>
        <pc:spChg chg="add del mod modVis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7" creationId="{52EBB284-9510-548C-E43C-33A7ABF4C2B5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8" creationId="{27416712-5C1C-E0A3-C3E0-55A9A2AF89D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29" creationId="{EC1410E7-54F3-A3A5-CCA7-C834480820E2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0" creationId="{A44449D6-45B1-3D81-AB2D-DA7CF67C0FF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1" creationId="{3631320D-5653-B487-A0DC-B0DD6F2FD194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2" creationId="{A3C79B52-403A-0AF6-2B92-D28FC1FA5481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3" creationId="{CFC458A1-021C-EEDD-F100-478D7A87254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4" creationId="{D663A7A8-280F-FB1C-6AAB-68BFD87B37D6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5" creationId="{29897222-FED7-7FDB-C42D-5ADFA98D868E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6" creationId="{C8450166-624F-CD3C-462E-332105C0B6E8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7" creationId="{B152032D-8E1B-92F1-D82C-F224154688F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8" creationId="{40E8DCBE-7F21-24AC-119D-35CBF660E1B3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39" creationId="{3AEC1248-EAB3-D424-05ED-A71D602BD87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0" creationId="{1313D626-2680-EE02-226A-04D50005106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1" creationId="{5F714972-F87D-37B9-69D9-B9401A006DF5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2" creationId="{AB614AE2-C476-4D72-65FB-2FB55A3CA9D0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3" creationId="{AE4F4A17-30F4-EBE7-10AB-4C8C29D25F89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4" creationId="{97AF392B-C2DC-2B05-8266-41B6FF17E3DD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5" creationId="{7318B64D-74FC-D8C2-EADF-AFA18F9D268C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6" creationId="{1538A5D0-07DF-08CC-21FE-4A7AE9D26E94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7" creationId="{13483A34-5B08-2C74-12DD-FDABA66051EC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8" creationId="{B53A3778-6B0D-3231-A423-94647500619B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49" creationId="{98ED3CD4-CAF4-89E8-DA74-BE811D6FE4D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0" creationId="{B5695A8E-BA06-049F-F9AF-B1EBE9010267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1" creationId="{F30ED769-19BA-4895-FE71-7F01201FE106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2" creationId="{1B107CD2-5623-CDBD-16A8-5B5B8CCE2F4D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3" creationId="{92398DD5-AC3C-3A57-8C2B-C6791FABF054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4" creationId="{BFFBF59A-9326-BEA9-E2F3-BBB718B9111B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5" creationId="{23C0643D-8100-C2FE-8DA8-7B64ABB57142}"/>
          </ac:spMkLst>
        </pc:spChg>
        <pc:spChg chg="add mod or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6" creationId="{E0321EA6-875A-8A2D-FDED-FE4B5881B52F}"/>
          </ac:spMkLst>
        </pc:spChg>
        <pc:spChg chg="add mod">
          <ac:chgData name="Oğuz Öztekin" userId="33c0df0f-d5fe-4bda-8f43-141ad7af67e3" providerId="ADAL" clId="{48B824AD-1B2A-47A8-8D92-6FE6E622A650}" dt="2024-12-16T09:20:20.848" v="24766"/>
          <ac:spMkLst>
            <pc:docMk/>
            <pc:sldMk cId="865606007" sldId="279"/>
            <ac:spMk id="357" creationId="{3AC23148-906E-2403-B001-F594BC0B2C07}"/>
          </ac:spMkLst>
        </pc:spChg>
        <pc:spChg chg="add del mod modVis">
          <ac:chgData name="Oğuz Öztekin" userId="33c0df0f-d5fe-4bda-8f43-141ad7af67e3" providerId="ADAL" clId="{48B824AD-1B2A-47A8-8D92-6FE6E622A650}" dt="2024-12-16T09:20:29.643" v="25327"/>
          <ac:spMkLst>
            <pc:docMk/>
            <pc:sldMk cId="865606007" sldId="279"/>
            <ac:spMk id="359" creationId="{0B970FB6-F9DB-7AA8-B9C4-C7701CD6B817}"/>
          </ac:spMkLst>
        </pc:spChg>
        <pc:spChg chg="add del mod modVis">
          <ac:chgData name="Oğuz Öztekin" userId="33c0df0f-d5fe-4bda-8f43-141ad7af67e3" providerId="ADAL" clId="{48B824AD-1B2A-47A8-8D92-6FE6E622A650}" dt="2024-12-16T09:20:35.527" v="25737"/>
          <ac:spMkLst>
            <pc:docMk/>
            <pc:sldMk cId="865606007" sldId="279"/>
            <ac:spMk id="361" creationId="{B9C36206-5BA5-551A-DB62-B0297BD41422}"/>
          </ac:spMkLst>
        </pc:spChg>
        <pc:spChg chg="add del mod modVis">
          <ac:chgData name="Oğuz Öztekin" userId="33c0df0f-d5fe-4bda-8f43-141ad7af67e3" providerId="ADAL" clId="{48B824AD-1B2A-47A8-8D92-6FE6E622A650}" dt="2024-12-16T09:20:37.526" v="25853"/>
          <ac:spMkLst>
            <pc:docMk/>
            <pc:sldMk cId="865606007" sldId="279"/>
            <ac:spMk id="363" creationId="{02A1EDC8-C2A3-84E0-B28D-D13BDDC4425C}"/>
          </ac:spMkLst>
        </pc:spChg>
        <pc:spChg chg="add del mod modVis">
          <ac:chgData name="Oğuz Öztekin" userId="33c0df0f-d5fe-4bda-8f43-141ad7af67e3" providerId="ADAL" clId="{48B824AD-1B2A-47A8-8D92-6FE6E622A650}" dt="2024-12-16T09:21:02.880" v="26001"/>
          <ac:spMkLst>
            <pc:docMk/>
            <pc:sldMk cId="865606007" sldId="279"/>
            <ac:spMk id="365" creationId="{D249C34E-F6BA-ED1E-12F7-20572D543436}"/>
          </ac:spMkLst>
        </pc:spChg>
        <pc:graphicFrameChg chg="mod">
          <ac:chgData name="Oğuz Öztekin" userId="33c0df0f-d5fe-4bda-8f43-141ad7af67e3" providerId="ADAL" clId="{48B824AD-1B2A-47A8-8D92-6FE6E622A650}" dt="2024-12-16T09:21:02.881" v="26003"/>
          <ac:graphicFrameMkLst>
            <pc:docMk/>
            <pc:sldMk cId="865606007" sldId="279"/>
            <ac:graphicFrameMk id="3" creationId="{9DF14670-A328-00A1-9CE6-CE088B94F64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8:47.075" v="1339"/>
          <ac:graphicFrameMkLst>
            <pc:docMk/>
            <pc:sldMk cId="865606007" sldId="279"/>
            <ac:graphicFrameMk id="41" creationId="{ADDB7B34-ED1E-039F-9038-8F637884419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8:56.832" v="2796"/>
          <ac:graphicFrameMkLst>
            <pc:docMk/>
            <pc:sldMk cId="865606007" sldId="279"/>
            <ac:graphicFrameMk id="70" creationId="{580B1CD4-E7BA-955F-FE33-FEA58481756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06.435" v="3342"/>
          <ac:graphicFrameMkLst>
            <pc:docMk/>
            <pc:sldMk cId="865606007" sldId="279"/>
            <ac:graphicFrameMk id="127" creationId="{27B96CF4-22B9-E3F9-357C-5A88261EE28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18.125" v="3653"/>
          <ac:graphicFrameMkLst>
            <pc:docMk/>
            <pc:sldMk cId="865606007" sldId="279"/>
            <ac:graphicFrameMk id="129" creationId="{F1D48B7D-1AEE-19DD-15C6-5BB025A053E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37.241" v="3780"/>
          <ac:graphicFrameMkLst>
            <pc:docMk/>
            <pc:sldMk cId="865606007" sldId="279"/>
            <ac:graphicFrameMk id="131" creationId="{FD7B19E2-E18F-038F-7E6E-20D4EFF6653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45.090" v="4125"/>
          <ac:graphicFrameMkLst>
            <pc:docMk/>
            <pc:sldMk cId="865606007" sldId="279"/>
            <ac:graphicFrameMk id="133" creationId="{58A05A74-E7CB-8693-4959-B34CBF0C2ED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09:57.039" v="4659"/>
          <ac:graphicFrameMkLst>
            <pc:docMk/>
            <pc:sldMk cId="865606007" sldId="279"/>
            <ac:graphicFrameMk id="143" creationId="{D4F7DCE9-5FF1-631D-FDC9-073F351620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09.722" v="5116"/>
          <ac:graphicFrameMkLst>
            <pc:docMk/>
            <pc:sldMk cId="865606007" sldId="279"/>
            <ac:graphicFrameMk id="166" creationId="{28C88C26-C587-C890-502C-F3281C7CD78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3.687" v="5302"/>
          <ac:graphicFrameMkLst>
            <pc:docMk/>
            <pc:sldMk cId="865606007" sldId="279"/>
            <ac:graphicFrameMk id="182" creationId="{FC43BD86-56A2-6035-7829-F7C91E0B873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5.578" v="5520"/>
          <ac:graphicFrameMkLst>
            <pc:docMk/>
            <pc:sldMk cId="865606007" sldId="279"/>
            <ac:graphicFrameMk id="184" creationId="{33F7F439-8C76-BE8A-DE22-038B6E63AD7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18.032" v="5741"/>
          <ac:graphicFrameMkLst>
            <pc:docMk/>
            <pc:sldMk cId="865606007" sldId="279"/>
            <ac:graphicFrameMk id="186" creationId="{68EC66B5-347B-E463-1A7D-7DE85602B5A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0.168" v="5866"/>
          <ac:graphicFrameMkLst>
            <pc:docMk/>
            <pc:sldMk cId="865606007" sldId="279"/>
            <ac:graphicFrameMk id="188" creationId="{5A3FCAEB-DA65-9314-0426-7CFE8CDC972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7.425" v="6255"/>
          <ac:graphicFrameMkLst>
            <pc:docMk/>
            <pc:sldMk cId="865606007" sldId="279"/>
            <ac:graphicFrameMk id="190" creationId="{0345CEC3-2CC7-1510-E7CF-9A4E35DA581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29.249" v="6890"/>
          <ac:graphicFrameMkLst>
            <pc:docMk/>
            <pc:sldMk cId="865606007" sldId="279"/>
            <ac:graphicFrameMk id="210" creationId="{DE7E8E97-B6DB-2BEA-0AAB-8034786FABC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30.258" v="7309"/>
          <ac:graphicFrameMkLst>
            <pc:docMk/>
            <pc:sldMk cId="865606007" sldId="279"/>
            <ac:graphicFrameMk id="230" creationId="{BC4DB1D8-7E47-A0E7-8C24-0CAE4A9C29A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39.941" v="7728"/>
          <ac:graphicFrameMkLst>
            <pc:docMk/>
            <pc:sldMk cId="865606007" sldId="279"/>
            <ac:graphicFrameMk id="232" creationId="{CA34EB29-5B88-F1B4-A207-9B8246899E2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42.536" v="8147"/>
          <ac:graphicFrameMkLst>
            <pc:docMk/>
            <pc:sldMk cId="865606007" sldId="279"/>
            <ac:graphicFrameMk id="234" creationId="{9D255551-3C0E-188E-4D3F-C3CD9FBD76D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48.534" v="8566"/>
          <ac:graphicFrameMkLst>
            <pc:docMk/>
            <pc:sldMk cId="865606007" sldId="279"/>
            <ac:graphicFrameMk id="236" creationId="{5AB8EF0E-CD5F-B231-8DB8-A252FA56DA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0:52.143" v="9017"/>
          <ac:graphicFrameMkLst>
            <pc:docMk/>
            <pc:sldMk cId="865606007" sldId="279"/>
            <ac:graphicFrameMk id="238" creationId="{E2DE75A4-09EF-C615-9B0B-96329916E87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0.058" v="9168"/>
          <ac:graphicFrameMkLst>
            <pc:docMk/>
            <pc:sldMk cId="865606007" sldId="279"/>
            <ac:graphicFrameMk id="240" creationId="{E06730AD-E05B-F694-DCDC-FFD195EEB10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2.156" v="9277"/>
          <ac:graphicFrameMkLst>
            <pc:docMk/>
            <pc:sldMk cId="865606007" sldId="279"/>
            <ac:graphicFrameMk id="242" creationId="{BB2B9723-EA43-9E6E-A97C-2283A406453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04.846" v="9406"/>
          <ac:graphicFrameMkLst>
            <pc:docMk/>
            <pc:sldMk cId="865606007" sldId="279"/>
            <ac:graphicFrameMk id="244" creationId="{3A82EF2F-49B4-5A72-AE91-0EFD57F4FF9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1:35.894" v="9607"/>
          <ac:graphicFrameMkLst>
            <pc:docMk/>
            <pc:sldMk cId="865606007" sldId="279"/>
            <ac:graphicFrameMk id="246" creationId="{44490346-C9E5-6E05-A708-85BA35FCC2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24.822" v="17979"/>
          <ac:graphicFrameMkLst>
            <pc:docMk/>
            <pc:sldMk cId="865606007" sldId="279"/>
            <ac:graphicFrameMk id="248" creationId="{7E74477E-3031-8C4E-0F0E-E6E44D4CBD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28.557" v="18105"/>
          <ac:graphicFrameMkLst>
            <pc:docMk/>
            <pc:sldMk cId="865606007" sldId="279"/>
            <ac:graphicFrameMk id="250" creationId="{4FAA12DF-E79E-C200-448F-5A02DC27E89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36.278" v="18749"/>
          <ac:graphicFrameMkLst>
            <pc:docMk/>
            <pc:sldMk cId="865606007" sldId="279"/>
            <ac:graphicFrameMk id="252" creationId="{49FA0B53-9775-BE09-E570-936670886E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11.028" v="19866"/>
          <ac:graphicFrameMkLst>
            <pc:docMk/>
            <pc:sldMk cId="865606007" sldId="279"/>
            <ac:graphicFrameMk id="264" creationId="{ED13ED74-57E0-FADE-01A8-62221C64EA3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0.482" v="20006"/>
          <ac:graphicFrameMkLst>
            <pc:docMk/>
            <pc:sldMk cId="865606007" sldId="279"/>
            <ac:graphicFrameMk id="288" creationId="{27F3586D-3505-5A03-2714-77CF0C38DB2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2.456" v="20145"/>
          <ac:graphicFrameMkLst>
            <pc:docMk/>
            <pc:sldMk cId="865606007" sldId="279"/>
            <ac:graphicFrameMk id="290" creationId="{7914EB95-A1BD-5C7C-46A2-738E8CC145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3.347" v="20282"/>
          <ac:graphicFrameMkLst>
            <pc:docMk/>
            <pc:sldMk cId="865606007" sldId="279"/>
            <ac:graphicFrameMk id="292" creationId="{5882B0EB-A5E9-B5C1-8D8E-328C0F040F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4.729" v="20416"/>
          <ac:graphicFrameMkLst>
            <pc:docMk/>
            <pc:sldMk cId="865606007" sldId="279"/>
            <ac:graphicFrameMk id="294" creationId="{E01822D0-E4E1-B69A-794B-B32C220E89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5.609" v="20553"/>
          <ac:graphicFrameMkLst>
            <pc:docMk/>
            <pc:sldMk cId="865606007" sldId="279"/>
            <ac:graphicFrameMk id="296" creationId="{E486B506-E305-C0CE-139F-E0B8FD7D3E2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8.158" v="20688"/>
          <ac:graphicFrameMkLst>
            <pc:docMk/>
            <pc:sldMk cId="865606007" sldId="279"/>
            <ac:graphicFrameMk id="298" creationId="{D8C9955E-1346-BFB8-36A4-701059F1EF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9.062" v="20823"/>
          <ac:graphicFrameMkLst>
            <pc:docMk/>
            <pc:sldMk cId="865606007" sldId="279"/>
            <ac:graphicFrameMk id="300" creationId="{2DF768F1-6854-33B1-9EA6-73BD5CE940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39.929" v="20956"/>
          <ac:graphicFrameMkLst>
            <pc:docMk/>
            <pc:sldMk cId="865606007" sldId="279"/>
            <ac:graphicFrameMk id="302" creationId="{E52ADF8B-6F7B-C561-B30A-FD901838565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0.871" v="21089"/>
          <ac:graphicFrameMkLst>
            <pc:docMk/>
            <pc:sldMk cId="865606007" sldId="279"/>
            <ac:graphicFrameMk id="304" creationId="{F495F5C3-A11B-924C-BCFA-D1C6FE691A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2.151" v="21223"/>
          <ac:graphicFrameMkLst>
            <pc:docMk/>
            <pc:sldMk cId="865606007" sldId="279"/>
            <ac:graphicFrameMk id="306" creationId="{B5CD2ED7-BF91-123C-DB18-5177F6A140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3.357" v="21355"/>
          <ac:graphicFrameMkLst>
            <pc:docMk/>
            <pc:sldMk cId="865606007" sldId="279"/>
            <ac:graphicFrameMk id="308" creationId="{9EB32EA5-1D38-BED8-E278-F3CE2932FE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4.293" v="21485"/>
          <ac:graphicFrameMkLst>
            <pc:docMk/>
            <pc:sldMk cId="865606007" sldId="279"/>
            <ac:graphicFrameMk id="310" creationId="{A4D9357D-A862-B140-8C18-4421A070531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4.944" v="21610"/>
          <ac:graphicFrameMkLst>
            <pc:docMk/>
            <pc:sldMk cId="865606007" sldId="279"/>
            <ac:graphicFrameMk id="312" creationId="{6D4FD5EA-29AA-7F1C-D850-65021B5C8E7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6.602" v="21735"/>
          <ac:graphicFrameMkLst>
            <pc:docMk/>
            <pc:sldMk cId="865606007" sldId="279"/>
            <ac:graphicFrameMk id="314" creationId="{F071A9D2-538C-8872-289E-F9CE37AE9E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7.436" v="21858"/>
          <ac:graphicFrameMkLst>
            <pc:docMk/>
            <pc:sldMk cId="865606007" sldId="279"/>
            <ac:graphicFrameMk id="316" creationId="{28643183-9121-FA54-B36E-3055E92E99F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49.194" v="21983"/>
          <ac:graphicFrameMkLst>
            <pc:docMk/>
            <pc:sldMk cId="865606007" sldId="279"/>
            <ac:graphicFrameMk id="318" creationId="{7662E914-7C23-D271-8133-F39D6398624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8:50.458" v="22102"/>
          <ac:graphicFrameMkLst>
            <pc:docMk/>
            <pc:sldMk cId="865606007" sldId="279"/>
            <ac:graphicFrameMk id="320" creationId="{6B49300A-E696-DC9B-74FE-EC8A11D9651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9.615" v="25278"/>
          <ac:graphicFrameMkLst>
            <pc:docMk/>
            <pc:sldMk cId="865606007" sldId="279"/>
            <ac:graphicFrameMk id="322" creationId="{F8A36C7A-E765-124F-E225-CB041FDE876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2.070" v="24867"/>
          <ac:graphicFrameMkLst>
            <pc:docMk/>
            <pc:sldMk cId="865606007" sldId="279"/>
            <ac:graphicFrameMk id="324" creationId="{F287F3C6-9E54-7A91-6F16-15DE16CA4F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21.443" v="24831"/>
          <ac:graphicFrameMkLst>
            <pc:docMk/>
            <pc:sldMk cId="865606007" sldId="279"/>
            <ac:graphicFrameMk id="326" creationId="{EF6299D9-AE64-A39A-6D0D-9BBA565B131F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20:20.848" v="24766"/>
          <ac:graphicFrameMkLst>
            <pc:docMk/>
            <pc:sldMk cId="865606007" sldId="279"/>
            <ac:graphicFrameMk id="358" creationId="{93A7193D-D34A-722E-1BC5-717B6F9DCF7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35.495" v="25682"/>
          <ac:graphicFrameMkLst>
            <pc:docMk/>
            <pc:sldMk cId="865606007" sldId="279"/>
            <ac:graphicFrameMk id="360" creationId="{24EF8058-8320-E1F9-1110-DA229D8C29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0:37.498" v="25808"/>
          <ac:graphicFrameMkLst>
            <pc:docMk/>
            <pc:sldMk cId="865606007" sldId="279"/>
            <ac:graphicFrameMk id="362" creationId="{299EEE5C-3E1F-5914-5DA7-393FB34118F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21:02.851" v="25948"/>
          <ac:graphicFrameMkLst>
            <pc:docMk/>
            <pc:sldMk cId="865606007" sldId="279"/>
            <ac:graphicFrameMk id="364" creationId="{6EF3355D-1B19-F026-9BB0-EA8E21DBC61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21:02.871" v="25967"/>
          <ac:graphicFrameMkLst>
            <pc:docMk/>
            <pc:sldMk cId="865606007" sldId="279"/>
            <ac:graphicFrameMk id="366" creationId="{3B62AD28-DB5C-3D81-373C-20355CB4D5A2}"/>
          </ac:graphicFrameMkLst>
        </pc:graphicFrame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6" creationId="{5F5D6EF1-AC3F-BEB5-AD51-1874D72B8294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6" creationId="{E05B56CD-147E-DE04-2447-B1371E640DAB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7" creationId="{BE1BCB11-8795-F49A-F5EC-57EED07D4613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8" creationId="{3B4855B5-68AA-1422-D232-ECCDD1A40955}"/>
          </ac:cxnSpMkLst>
        </pc:cxnChg>
        <pc:cxnChg chg="del">
          <ac:chgData name="Oğuz Öztekin" userId="33c0df0f-d5fe-4bda-8f43-141ad7af67e3" providerId="ADAL" clId="{48B824AD-1B2A-47A8-8D92-6FE6E622A650}" dt="2024-12-16T09:07:47.993" v="36" actId="478"/>
          <ac:cxnSpMkLst>
            <pc:docMk/>
            <pc:sldMk cId="865606007" sldId="279"/>
            <ac:cxnSpMk id="29" creationId="{5FAC2687-76FE-723A-EF14-AB21A1925FBB}"/>
          </ac:cxnSpMkLst>
        </pc:cxnChg>
        <pc:cxnChg chg="add del mod ord">
          <ac:chgData name="Oğuz Öztekin" userId="33c0df0f-d5fe-4bda-8f43-141ad7af67e3" providerId="ADAL" clId="{48B824AD-1B2A-47A8-8D92-6FE6E622A650}" dt="2024-12-16T09:17:24.772" v="17921"/>
          <ac:cxnSpMkLst>
            <pc:docMk/>
            <pc:sldMk cId="865606007" sldId="279"/>
            <ac:cxnSpMk id="42" creationId="{62AD1A95-8A47-A603-A562-67B052D93917}"/>
          </ac:cxnSpMkLst>
        </pc:cxnChg>
        <pc:cxnChg chg="add del mod ord">
          <ac:chgData name="Oğuz Öztekin" userId="33c0df0f-d5fe-4bda-8f43-141ad7af67e3" providerId="ADAL" clId="{48B824AD-1B2A-47A8-8D92-6FE6E622A650}" dt="2024-12-16T09:09:18.108" v="3612"/>
          <ac:cxnSpMkLst>
            <pc:docMk/>
            <pc:sldMk cId="865606007" sldId="279"/>
            <ac:cxnSpMk id="68" creationId="{F0364D06-6075-865D-0A52-BA9AD0DC30FE}"/>
          </ac:cxnSpMkLst>
        </pc:cxnChg>
        <pc:cxnChg chg="add del mod ord">
          <ac:chgData name="Oğuz Öztekin" userId="33c0df0f-d5fe-4bda-8f43-141ad7af67e3" providerId="ADAL" clId="{48B824AD-1B2A-47A8-8D92-6FE6E622A650}" dt="2024-12-16T09:09:06.384" v="3223"/>
          <ac:cxnSpMkLst>
            <pc:docMk/>
            <pc:sldMk cId="865606007" sldId="279"/>
            <ac:cxnSpMk id="69" creationId="{03596789-35CD-D17F-8F92-81C8AFB18F8C}"/>
          </ac:cxnSpMkLst>
        </pc:cxnChg>
        <pc:cxnChg chg="add del mod ord">
          <ac:chgData name="Oğuz Öztekin" userId="33c0df0f-d5fe-4bda-8f43-141ad7af67e3" providerId="ADAL" clId="{48B824AD-1B2A-47A8-8D92-6FE6E622A650}" dt="2024-12-16T09:09:18.109" v="3615"/>
          <ac:cxnSpMkLst>
            <pc:docMk/>
            <pc:sldMk cId="865606007" sldId="279"/>
            <ac:cxnSpMk id="116" creationId="{8BC03CA4-76E0-DAF9-E90E-1F2F65FFB2D3}"/>
          </ac:cxnSpMkLst>
        </pc:cxnChg>
        <pc:cxnChg chg="add del mod ord">
          <ac:chgData name="Oğuz Öztekin" userId="33c0df0f-d5fe-4bda-8f43-141ad7af67e3" providerId="ADAL" clId="{48B824AD-1B2A-47A8-8D92-6FE6E622A650}" dt="2024-12-16T09:09:18.113" v="3623"/>
          <ac:cxnSpMkLst>
            <pc:docMk/>
            <pc:sldMk cId="865606007" sldId="279"/>
            <ac:cxnSpMk id="117" creationId="{61581AB7-B05A-C251-95D2-C452605FEEFA}"/>
          </ac:cxnSpMkLst>
        </pc:cxnChg>
        <pc:cxnChg chg="add del mod ord">
          <ac:chgData name="Oğuz Öztekin" userId="33c0df0f-d5fe-4bda-8f43-141ad7af67e3" providerId="ADAL" clId="{48B824AD-1B2A-47A8-8D92-6FE6E622A650}" dt="2024-12-16T09:09:06.401" v="3266"/>
          <ac:cxnSpMkLst>
            <pc:docMk/>
            <pc:sldMk cId="865606007" sldId="279"/>
            <ac:cxnSpMk id="118" creationId="{B41A8D70-A108-B59C-16AB-8ECCDCE6D928}"/>
          </ac:cxnSpMkLst>
        </pc:cxnChg>
        <pc:cxnChg chg="add del mod ord">
          <ac:chgData name="Oğuz Öztekin" userId="33c0df0f-d5fe-4bda-8f43-141ad7af67e3" providerId="ADAL" clId="{48B824AD-1B2A-47A8-8D92-6FE6E622A650}" dt="2024-12-16T09:09:06.400" v="3264"/>
          <ac:cxnSpMkLst>
            <pc:docMk/>
            <pc:sldMk cId="865606007" sldId="279"/>
            <ac:cxnSpMk id="119" creationId="{80E43831-875D-571F-AFBB-5AE6CEB2BEE8}"/>
          </ac:cxnSpMkLst>
        </pc:cxnChg>
        <pc:cxnChg chg="add del mod ord">
          <ac:chgData name="Oğuz Öztekin" userId="33c0df0f-d5fe-4bda-8f43-141ad7af67e3" providerId="ADAL" clId="{48B824AD-1B2A-47A8-8D92-6FE6E622A650}" dt="2024-12-16T09:09:18.116" v="3631"/>
          <ac:cxnSpMkLst>
            <pc:docMk/>
            <pc:sldMk cId="865606007" sldId="279"/>
            <ac:cxnSpMk id="120" creationId="{CE4138CE-9188-A8A2-EA84-21A96D2C4B24}"/>
          </ac:cxnSpMkLst>
        </pc:cxnChg>
        <pc:cxnChg chg="add del mod ord">
          <ac:chgData name="Oğuz Öztekin" userId="33c0df0f-d5fe-4bda-8f43-141ad7af67e3" providerId="ADAL" clId="{48B824AD-1B2A-47A8-8D92-6FE6E622A650}" dt="2024-12-16T09:09:06.414" v="3298"/>
          <ac:cxnSpMkLst>
            <pc:docMk/>
            <pc:sldMk cId="865606007" sldId="279"/>
            <ac:cxnSpMk id="121" creationId="{2E974BD5-27F1-BD80-D05D-6CDC9AF9B39A}"/>
          </ac:cxnSpMkLst>
        </pc:cxnChg>
        <pc:cxnChg chg="add del mod ord">
          <ac:chgData name="Oğuz Öztekin" userId="33c0df0f-d5fe-4bda-8f43-141ad7af67e3" providerId="ADAL" clId="{48B824AD-1B2A-47A8-8D92-6FE6E622A650}" dt="2024-12-16T09:09:06.414" v="3296"/>
          <ac:cxnSpMkLst>
            <pc:docMk/>
            <pc:sldMk cId="865606007" sldId="279"/>
            <ac:cxnSpMk id="122" creationId="{DE538754-A3CD-D3C8-7B6D-44CD6872AD0F}"/>
          </ac:cxnSpMkLst>
        </pc:cxnChg>
        <pc:cxnChg chg="add del mod ord">
          <ac:chgData name="Oğuz Öztekin" userId="33c0df0f-d5fe-4bda-8f43-141ad7af67e3" providerId="ADAL" clId="{48B824AD-1B2A-47A8-8D92-6FE6E622A650}" dt="2024-12-16T09:09:06.240" v="3047"/>
          <ac:cxnSpMkLst>
            <pc:docMk/>
            <pc:sldMk cId="865606007" sldId="279"/>
            <ac:cxnSpMk id="123" creationId="{EF453637-90FB-B71B-6C95-4B18BC8F959A}"/>
          </ac:cxnSpMkLst>
        </pc:cxnChg>
        <pc:cxnChg chg="add del mod ord">
          <ac:chgData name="Oğuz Öztekin" userId="33c0df0f-d5fe-4bda-8f43-141ad7af67e3" providerId="ADAL" clId="{48B824AD-1B2A-47A8-8D92-6FE6E622A650}" dt="2024-12-16T09:09:06.240" v="3049"/>
          <ac:cxnSpMkLst>
            <pc:docMk/>
            <pc:sldMk cId="865606007" sldId="279"/>
            <ac:cxnSpMk id="124" creationId="{65D4E434-57DD-7645-7DF4-253074BE43B7}"/>
          </ac:cxnSpMkLst>
        </pc:cxnChg>
        <pc:cxnChg chg="add del mod ord">
          <ac:chgData name="Oğuz Öztekin" userId="33c0df0f-d5fe-4bda-8f43-141ad7af67e3" providerId="ADAL" clId="{48B824AD-1B2A-47A8-8D92-6FE6E622A650}" dt="2024-12-16T09:09:06.241" v="3051"/>
          <ac:cxnSpMkLst>
            <pc:docMk/>
            <pc:sldMk cId="865606007" sldId="279"/>
            <ac:cxnSpMk id="125" creationId="{9AB5E33C-BF7B-C9DB-4577-4C795FA054FA}"/>
          </ac:cxnSpMkLst>
        </pc:cxnChg>
        <pc:cxnChg chg="add del mod ord">
          <ac:chgData name="Oğuz Öztekin" userId="33c0df0f-d5fe-4bda-8f43-141ad7af67e3" providerId="ADAL" clId="{48B824AD-1B2A-47A8-8D92-6FE6E622A650}" dt="2024-12-16T09:09:06.117" v="2944"/>
          <ac:cxnSpMkLst>
            <pc:docMk/>
            <pc:sldMk cId="865606007" sldId="279"/>
            <ac:cxnSpMk id="126" creationId="{8EBDB478-9CF2-B61F-7674-F0B7B00D44B7}"/>
          </ac:cxnSpMkLst>
        </pc:cxnChg>
        <pc:cxnChg chg="add del mod ord">
          <ac:chgData name="Oğuz Öztekin" userId="33c0df0f-d5fe-4bda-8f43-141ad7af67e3" providerId="ADAL" clId="{48B824AD-1B2A-47A8-8D92-6FE6E622A650}" dt="2024-12-16T09:17:36.299" v="18764"/>
          <ac:cxnSpMkLst>
            <pc:docMk/>
            <pc:sldMk cId="865606007" sldId="279"/>
            <ac:cxnSpMk id="211" creationId="{BDBDEC58-AB01-0B6A-3479-3DB570DB223C}"/>
          </ac:cxnSpMkLst>
        </pc:cxnChg>
        <pc:cxnChg chg="add del mod ord">
          <ac:chgData name="Oğuz Öztekin" userId="33c0df0f-d5fe-4bda-8f43-141ad7af67e3" providerId="ADAL" clId="{48B824AD-1B2A-47A8-8D92-6FE6E622A650}" dt="2024-12-16T09:17:36.305" v="18777"/>
          <ac:cxnSpMkLst>
            <pc:docMk/>
            <pc:sldMk cId="865606007" sldId="279"/>
            <ac:cxnSpMk id="212" creationId="{EFC89659-A03A-3FDE-DD58-BFDBF48FF485}"/>
          </ac:cxnSpMkLst>
        </pc:cxnChg>
        <pc:cxnChg chg="add del mod ord">
          <ac:chgData name="Oğuz Öztekin" userId="33c0df0f-d5fe-4bda-8f43-141ad7af67e3" providerId="ADAL" clId="{48B824AD-1B2A-47A8-8D92-6FE6E622A650}" dt="2024-12-16T09:10:52.070" v="8914"/>
          <ac:cxnSpMkLst>
            <pc:docMk/>
            <pc:sldMk cId="865606007" sldId="279"/>
            <ac:cxnSpMk id="213" creationId="{47A7952A-717E-D8A1-DE6B-8B913246C680}"/>
          </ac:cxnSpMkLst>
        </pc:cxnChg>
        <pc:cxnChg chg="add del mod ord">
          <ac:chgData name="Oğuz Öztekin" userId="33c0df0f-d5fe-4bda-8f43-141ad7af67e3" providerId="ADAL" clId="{48B824AD-1B2A-47A8-8D92-6FE6E622A650}" dt="2024-12-16T09:10:52.071" v="8917"/>
          <ac:cxnSpMkLst>
            <pc:docMk/>
            <pc:sldMk cId="865606007" sldId="279"/>
            <ac:cxnSpMk id="214" creationId="{51958CC1-3187-C6FA-4B2B-DE8629BDFE5C}"/>
          </ac:cxnSpMkLst>
        </pc:cxnChg>
        <pc:cxnChg chg="add del mod ord">
          <ac:chgData name="Oğuz Öztekin" userId="33c0df0f-d5fe-4bda-8f43-141ad7af67e3" providerId="ADAL" clId="{48B824AD-1B2A-47A8-8D92-6FE6E622A650}" dt="2024-12-16T09:10:52.073" v="8920"/>
          <ac:cxnSpMkLst>
            <pc:docMk/>
            <pc:sldMk cId="865606007" sldId="279"/>
            <ac:cxnSpMk id="215" creationId="{AB92361F-C19F-6E02-E367-00FC48C4884E}"/>
          </ac:cxnSpMkLst>
        </pc:cxnChg>
        <pc:cxnChg chg="add del mod ord">
          <ac:chgData name="Oğuz Öztekin" userId="33c0df0f-d5fe-4bda-8f43-141ad7af67e3" providerId="ADAL" clId="{48B824AD-1B2A-47A8-8D92-6FE6E622A650}" dt="2024-12-16T09:10:52.074" v="8923"/>
          <ac:cxnSpMkLst>
            <pc:docMk/>
            <pc:sldMk cId="865606007" sldId="279"/>
            <ac:cxnSpMk id="216" creationId="{DAA53769-F10B-A4FF-2920-445196930151}"/>
          </ac:cxnSpMkLst>
        </pc:cxnChg>
        <pc:cxnChg chg="add del mod ord">
          <ac:chgData name="Oğuz Öztekin" userId="33c0df0f-d5fe-4bda-8f43-141ad7af67e3" providerId="ADAL" clId="{48B824AD-1B2A-47A8-8D92-6FE6E622A650}" dt="2024-12-16T09:10:52.075" v="8926"/>
          <ac:cxnSpMkLst>
            <pc:docMk/>
            <pc:sldMk cId="865606007" sldId="279"/>
            <ac:cxnSpMk id="217" creationId="{25A3ABE2-F535-C71A-491E-6CE606FBCC48}"/>
          </ac:cxnSpMkLst>
        </pc:cxnChg>
        <pc:cxnChg chg="add del mod ord">
          <ac:chgData name="Oğuz Öztekin" userId="33c0df0f-d5fe-4bda-8f43-141ad7af67e3" providerId="ADAL" clId="{48B824AD-1B2A-47A8-8D92-6FE6E622A650}" dt="2024-12-16T09:10:52.076" v="8929"/>
          <ac:cxnSpMkLst>
            <pc:docMk/>
            <pc:sldMk cId="865606007" sldId="279"/>
            <ac:cxnSpMk id="218" creationId="{0E04C4CD-3ABA-C9FA-1577-87329FFF53B8}"/>
          </ac:cxnSpMkLst>
        </pc:cxnChg>
        <pc:cxnChg chg="add del mod ord">
          <ac:chgData name="Oğuz Öztekin" userId="33c0df0f-d5fe-4bda-8f43-141ad7af67e3" providerId="ADAL" clId="{48B824AD-1B2A-47A8-8D92-6FE6E622A650}" dt="2024-12-16T09:10:52.077" v="8932"/>
          <ac:cxnSpMkLst>
            <pc:docMk/>
            <pc:sldMk cId="865606007" sldId="279"/>
            <ac:cxnSpMk id="219" creationId="{1CD3E5E3-DE7C-5A9C-8994-8762F0ECEB66}"/>
          </ac:cxnSpMkLst>
        </pc:cxnChg>
        <pc:cxnChg chg="add del mod ord">
          <ac:chgData name="Oğuz Öztekin" userId="33c0df0f-d5fe-4bda-8f43-141ad7af67e3" providerId="ADAL" clId="{48B824AD-1B2A-47A8-8D92-6FE6E622A650}" dt="2024-12-16T09:10:52.078" v="8935"/>
          <ac:cxnSpMkLst>
            <pc:docMk/>
            <pc:sldMk cId="865606007" sldId="279"/>
            <ac:cxnSpMk id="220" creationId="{D7EB6C9A-62A5-6302-0696-E2400BE62BA7}"/>
          </ac:cxnSpMkLst>
        </pc:cxnChg>
        <pc:cxnChg chg="add del mod ord">
          <ac:chgData name="Oğuz Öztekin" userId="33c0df0f-d5fe-4bda-8f43-141ad7af67e3" providerId="ADAL" clId="{48B824AD-1B2A-47A8-8D92-6FE6E622A650}" dt="2024-12-16T09:10:52.078" v="8938"/>
          <ac:cxnSpMkLst>
            <pc:docMk/>
            <pc:sldMk cId="865606007" sldId="279"/>
            <ac:cxnSpMk id="221" creationId="{D3E3D178-C984-867D-17AA-97480B5073BA}"/>
          </ac:cxnSpMkLst>
        </pc:cxnChg>
        <pc:cxnChg chg="add del mod ord">
          <ac:chgData name="Oğuz Öztekin" userId="33c0df0f-d5fe-4bda-8f43-141ad7af67e3" providerId="ADAL" clId="{48B824AD-1B2A-47A8-8D92-6FE6E622A650}" dt="2024-12-16T09:10:52.080" v="8941"/>
          <ac:cxnSpMkLst>
            <pc:docMk/>
            <pc:sldMk cId="865606007" sldId="279"/>
            <ac:cxnSpMk id="222" creationId="{53CFC3D3-CFEF-37EE-8EFC-E790F9DF209A}"/>
          </ac:cxnSpMkLst>
        </pc:cxnChg>
        <pc:cxnChg chg="add del mod ord">
          <ac:chgData name="Oğuz Öztekin" userId="33c0df0f-d5fe-4bda-8f43-141ad7af67e3" providerId="ADAL" clId="{48B824AD-1B2A-47A8-8D92-6FE6E622A650}" dt="2024-12-16T09:10:52.081" v="8944"/>
          <ac:cxnSpMkLst>
            <pc:docMk/>
            <pc:sldMk cId="865606007" sldId="279"/>
            <ac:cxnSpMk id="223" creationId="{FDEA23A0-2046-C56A-58F5-B13BA243361B}"/>
          </ac:cxnSpMkLst>
        </pc:cxnChg>
        <pc:cxnChg chg="add del mod ord">
          <ac:chgData name="Oğuz Öztekin" userId="33c0df0f-d5fe-4bda-8f43-141ad7af67e3" providerId="ADAL" clId="{48B824AD-1B2A-47A8-8D92-6FE6E622A650}" dt="2024-12-16T09:10:52.082" v="8947"/>
          <ac:cxnSpMkLst>
            <pc:docMk/>
            <pc:sldMk cId="865606007" sldId="279"/>
            <ac:cxnSpMk id="224" creationId="{6F824FC4-ED6F-4EA6-FB70-10D6E9960F3A}"/>
          </ac:cxnSpMkLst>
        </pc:cxnChg>
        <pc:cxnChg chg="add del mod ord">
          <ac:chgData name="Oğuz Öztekin" userId="33c0df0f-d5fe-4bda-8f43-141ad7af67e3" providerId="ADAL" clId="{48B824AD-1B2A-47A8-8D92-6FE6E622A650}" dt="2024-12-16T09:10:52.082" v="8950"/>
          <ac:cxnSpMkLst>
            <pc:docMk/>
            <pc:sldMk cId="865606007" sldId="279"/>
            <ac:cxnSpMk id="225" creationId="{27C2DBC4-683C-E312-4A02-D9222F000B08}"/>
          </ac:cxnSpMkLst>
        </pc:cxnChg>
        <pc:cxnChg chg="add del mod ord">
          <ac:chgData name="Oğuz Öztekin" userId="33c0df0f-d5fe-4bda-8f43-141ad7af67e3" providerId="ADAL" clId="{48B824AD-1B2A-47A8-8D92-6FE6E622A650}" dt="2024-12-16T09:10:52.083" v="8953"/>
          <ac:cxnSpMkLst>
            <pc:docMk/>
            <pc:sldMk cId="865606007" sldId="279"/>
            <ac:cxnSpMk id="226" creationId="{27DAD98B-DC03-EFF4-A3E3-F9F810ABFF47}"/>
          </ac:cxnSpMkLst>
        </pc:cxnChg>
        <pc:cxnChg chg="add del mod ord">
          <ac:chgData name="Oğuz Öztekin" userId="33c0df0f-d5fe-4bda-8f43-141ad7af67e3" providerId="ADAL" clId="{48B824AD-1B2A-47A8-8D92-6FE6E622A650}" dt="2024-12-16T09:10:52.084" v="8956"/>
          <ac:cxnSpMkLst>
            <pc:docMk/>
            <pc:sldMk cId="865606007" sldId="279"/>
            <ac:cxnSpMk id="227" creationId="{F6D752E3-023F-3C49-AC4F-5E3CB8812D05}"/>
          </ac:cxnSpMkLst>
        </pc:cxnChg>
        <pc:cxnChg chg="add del mod ord">
          <ac:chgData name="Oğuz Öztekin" userId="33c0df0f-d5fe-4bda-8f43-141ad7af67e3" providerId="ADAL" clId="{48B824AD-1B2A-47A8-8D92-6FE6E622A650}" dt="2024-12-16T09:10:52.084" v="8959"/>
          <ac:cxnSpMkLst>
            <pc:docMk/>
            <pc:sldMk cId="865606007" sldId="279"/>
            <ac:cxnSpMk id="228" creationId="{62C63EC9-C744-A727-C22B-DC0627DDE37B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0:56:10.124" v="31244"/>
        <pc:sldMkLst>
          <pc:docMk/>
          <pc:sldMk cId="594020395" sldId="280"/>
        </pc:sldMkLst>
        <pc:spChg chg="mod or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2" creationId="{C6AA2C03-77E5-E9FF-42FB-2456EE8F4872}"/>
          </ac:spMkLst>
        </pc:spChg>
        <pc:spChg chg="add del mod modVis">
          <ac:chgData name="Oğuz Öztekin" userId="33c0df0f-d5fe-4bda-8f43-141ad7af67e3" providerId="ADAL" clId="{48B824AD-1B2A-47A8-8D92-6FE6E622A650}" dt="2024-12-16T10:56:02.733" v="31032"/>
          <ac:spMkLst>
            <pc:docMk/>
            <pc:sldMk cId="594020395" sldId="280"/>
            <ac:spMk id="4" creationId="{B66ED92D-A262-26A3-12DA-4F36497A5548}"/>
          </ac:spMkLst>
        </pc:spChg>
        <pc:spChg chg="add del mod modVis">
          <ac:chgData name="Oğuz Öztekin" userId="33c0df0f-d5fe-4bda-8f43-141ad7af67e3" providerId="ADAL" clId="{48B824AD-1B2A-47A8-8D92-6FE6E622A650}" dt="2024-12-16T09:11:58.963" v="9824"/>
          <ac:spMkLst>
            <pc:docMk/>
            <pc:sldMk cId="594020395" sldId="280"/>
            <ac:spMk id="4" creationId="{E132DEDA-3743-3145-4239-D1DB94A493DB}"/>
          </ac:spMkLst>
        </pc:spChg>
        <pc:spChg chg="add del mod modVis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6" creationId="{48F0242B-4DC3-118C-77AB-0E6AC7A28449}"/>
          </ac:spMkLst>
        </pc:spChg>
        <pc:spChg chg="add del mod modVis">
          <ac:chgData name="Oğuz Öztekin" userId="33c0df0f-d5fe-4bda-8f43-141ad7af67e3" providerId="ADAL" clId="{48B824AD-1B2A-47A8-8D92-6FE6E622A650}" dt="2024-12-16T09:12:15.508" v="9909"/>
          <ac:spMkLst>
            <pc:docMk/>
            <pc:sldMk cId="594020395" sldId="280"/>
            <ac:spMk id="6" creationId="{F3BF73E9-474F-A37D-F2FB-01C59CB0FE99}"/>
          </ac:spMkLst>
        </pc:spChg>
        <pc:spChg chg="add del mod modVis">
          <ac:chgData name="Oğuz Öztekin" userId="33c0df0f-d5fe-4bda-8f43-141ad7af67e3" providerId="ADAL" clId="{48B824AD-1B2A-47A8-8D92-6FE6E622A650}" dt="2024-12-16T09:12:18.187" v="9995"/>
          <ac:spMkLst>
            <pc:docMk/>
            <pc:sldMk cId="594020395" sldId="280"/>
            <ac:spMk id="8" creationId="{B521FAA3-9013-B67F-A4C3-6609A6BA9A45}"/>
          </ac:spMkLst>
        </pc:spChg>
        <pc:spChg chg="add del mod modVis">
          <ac:chgData name="Oğuz Öztekin" userId="33c0df0f-d5fe-4bda-8f43-141ad7af67e3" providerId="ADAL" clId="{48B824AD-1B2A-47A8-8D92-6FE6E622A650}" dt="2024-12-16T09:12:23.921" v="10075"/>
          <ac:spMkLst>
            <pc:docMk/>
            <pc:sldMk cId="594020395" sldId="280"/>
            <ac:spMk id="10" creationId="{1525B253-5C68-4B42-12D4-D217A9D24A2C}"/>
          </ac:spMkLst>
        </pc:spChg>
        <pc:spChg chg="add del mod modVis">
          <ac:chgData name="Oğuz Öztekin" userId="33c0df0f-d5fe-4bda-8f43-141ad7af67e3" providerId="ADAL" clId="{48B824AD-1B2A-47A8-8D92-6FE6E622A650}" dt="2024-12-16T09:12:26.934" v="10799"/>
          <ac:spMkLst>
            <pc:docMk/>
            <pc:sldMk cId="594020395" sldId="280"/>
            <ac:spMk id="12" creationId="{18406A53-8104-F7CE-9238-D4707DFC76BD}"/>
          </ac:spMkLst>
        </pc:spChg>
        <pc:spChg chg="add del mod">
          <ac:chgData name="Oğuz Öztekin" userId="33c0df0f-d5fe-4bda-8f43-141ad7af67e3" providerId="ADAL" clId="{48B824AD-1B2A-47A8-8D92-6FE6E622A650}" dt="2024-12-16T09:12:27.647" v="10868"/>
          <ac:spMkLst>
            <pc:docMk/>
            <pc:sldMk cId="594020395" sldId="280"/>
            <ac:spMk id="13" creationId="{F381CB21-F749-2AA9-2639-A327F32EA6E5}"/>
          </ac:spMkLst>
        </pc:spChg>
        <pc:spChg chg="add del mod">
          <ac:chgData name="Oğuz Öztekin" userId="33c0df0f-d5fe-4bda-8f43-141ad7af67e3" providerId="ADAL" clId="{48B824AD-1B2A-47A8-8D92-6FE6E622A650}" dt="2024-12-16T09:12:27.648" v="10869"/>
          <ac:spMkLst>
            <pc:docMk/>
            <pc:sldMk cId="594020395" sldId="280"/>
            <ac:spMk id="14" creationId="{C5B4D18C-1F15-FD36-B2C9-BB49EF194C1D}"/>
          </ac:spMkLst>
        </pc:spChg>
        <pc:spChg chg="add del mod">
          <ac:chgData name="Oğuz Öztekin" userId="33c0df0f-d5fe-4bda-8f43-141ad7af67e3" providerId="ADAL" clId="{48B824AD-1B2A-47A8-8D92-6FE6E622A650}" dt="2024-12-16T09:12:27.648" v="10870"/>
          <ac:spMkLst>
            <pc:docMk/>
            <pc:sldMk cId="594020395" sldId="280"/>
            <ac:spMk id="15" creationId="{9C094452-7B29-A5E5-25F2-4B8A64D9F6AA}"/>
          </ac:spMkLst>
        </pc:spChg>
        <pc:spChg chg="add del mod">
          <ac:chgData name="Oğuz Öztekin" userId="33c0df0f-d5fe-4bda-8f43-141ad7af67e3" providerId="ADAL" clId="{48B824AD-1B2A-47A8-8D92-6FE6E622A650}" dt="2024-12-16T09:12:27.649" v="10871"/>
          <ac:spMkLst>
            <pc:docMk/>
            <pc:sldMk cId="594020395" sldId="280"/>
            <ac:spMk id="16" creationId="{62A1D600-9C2F-9F4F-C566-00332BAE7F63}"/>
          </ac:spMkLst>
        </pc:spChg>
        <pc:spChg chg="add del mod">
          <ac:chgData name="Oğuz Öztekin" userId="33c0df0f-d5fe-4bda-8f43-141ad7af67e3" providerId="ADAL" clId="{48B824AD-1B2A-47A8-8D92-6FE6E622A650}" dt="2024-12-16T09:12:27.649" v="10872"/>
          <ac:spMkLst>
            <pc:docMk/>
            <pc:sldMk cId="594020395" sldId="280"/>
            <ac:spMk id="17" creationId="{39CAC708-484B-083E-D363-E6946D290B65}"/>
          </ac:spMkLst>
        </pc:spChg>
        <pc:spChg chg="add del mod">
          <ac:chgData name="Oğuz Öztekin" userId="33c0df0f-d5fe-4bda-8f43-141ad7af67e3" providerId="ADAL" clId="{48B824AD-1B2A-47A8-8D92-6FE6E622A650}" dt="2024-12-16T09:12:27.650" v="10873"/>
          <ac:spMkLst>
            <pc:docMk/>
            <pc:sldMk cId="594020395" sldId="280"/>
            <ac:spMk id="18" creationId="{7FC192CD-F5DA-2E03-A284-0F97BEA94FA3}"/>
          </ac:spMkLst>
        </pc:spChg>
        <pc:spChg chg="add del mod">
          <ac:chgData name="Oğuz Öztekin" userId="33c0df0f-d5fe-4bda-8f43-141ad7af67e3" providerId="ADAL" clId="{48B824AD-1B2A-47A8-8D92-6FE6E622A650}" dt="2024-12-16T09:12:27.650" v="10874"/>
          <ac:spMkLst>
            <pc:docMk/>
            <pc:sldMk cId="594020395" sldId="280"/>
            <ac:spMk id="19" creationId="{C5C3BE61-8943-17F6-FFDD-86739C2865D6}"/>
          </ac:spMkLst>
        </pc:spChg>
        <pc:spChg chg="add del mod">
          <ac:chgData name="Oğuz Öztekin" userId="33c0df0f-d5fe-4bda-8f43-141ad7af67e3" providerId="ADAL" clId="{48B824AD-1B2A-47A8-8D92-6FE6E622A650}" dt="2024-12-16T09:12:27.650" v="10875"/>
          <ac:spMkLst>
            <pc:docMk/>
            <pc:sldMk cId="594020395" sldId="280"/>
            <ac:spMk id="20" creationId="{8D8321E9-7C39-83AA-546E-3CE2E2C70813}"/>
          </ac:spMkLst>
        </pc:spChg>
        <pc:spChg chg="add del mod">
          <ac:chgData name="Oğuz Öztekin" userId="33c0df0f-d5fe-4bda-8f43-141ad7af67e3" providerId="ADAL" clId="{48B824AD-1B2A-47A8-8D92-6FE6E622A650}" dt="2024-12-16T09:12:27.651" v="10876"/>
          <ac:spMkLst>
            <pc:docMk/>
            <pc:sldMk cId="594020395" sldId="280"/>
            <ac:spMk id="21" creationId="{26FB2FC3-1F34-AAE1-6727-9DD31A9CA997}"/>
          </ac:spMkLst>
        </pc:spChg>
        <pc:spChg chg="add del mod">
          <ac:chgData name="Oğuz Öztekin" userId="33c0df0f-d5fe-4bda-8f43-141ad7af67e3" providerId="ADAL" clId="{48B824AD-1B2A-47A8-8D92-6FE6E622A650}" dt="2024-12-16T09:12:27.651" v="10877"/>
          <ac:spMkLst>
            <pc:docMk/>
            <pc:sldMk cId="594020395" sldId="280"/>
            <ac:spMk id="22" creationId="{8854AFC2-597B-1A0F-D2E5-F95F9E267D03}"/>
          </ac:spMkLst>
        </pc:spChg>
        <pc:spChg chg="add del mod">
          <ac:chgData name="Oğuz Öztekin" userId="33c0df0f-d5fe-4bda-8f43-141ad7af67e3" providerId="ADAL" clId="{48B824AD-1B2A-47A8-8D92-6FE6E622A650}" dt="2024-12-16T09:12:27.652" v="10878"/>
          <ac:spMkLst>
            <pc:docMk/>
            <pc:sldMk cId="594020395" sldId="280"/>
            <ac:spMk id="23" creationId="{D76C9C7E-C7A9-57A5-8A27-F29FBC52890A}"/>
          </ac:spMkLst>
        </pc:spChg>
        <pc:spChg chg="add del mod">
          <ac:chgData name="Oğuz Öztekin" userId="33c0df0f-d5fe-4bda-8f43-141ad7af67e3" providerId="ADAL" clId="{48B824AD-1B2A-47A8-8D92-6FE6E622A650}" dt="2024-12-16T09:12:27.653" v="10879"/>
          <ac:spMkLst>
            <pc:docMk/>
            <pc:sldMk cId="594020395" sldId="280"/>
            <ac:spMk id="24" creationId="{56C5965D-80A3-D217-688C-B273CBB96879}"/>
          </ac:spMkLst>
        </pc:spChg>
        <pc:spChg chg="add del mod">
          <ac:chgData name="Oğuz Öztekin" userId="33c0df0f-d5fe-4bda-8f43-141ad7af67e3" providerId="ADAL" clId="{48B824AD-1B2A-47A8-8D92-6FE6E622A650}" dt="2024-12-16T09:12:27.653" v="10880"/>
          <ac:spMkLst>
            <pc:docMk/>
            <pc:sldMk cId="594020395" sldId="280"/>
            <ac:spMk id="25" creationId="{AC2BE47B-ABF0-97AB-BD4B-A5F66859D765}"/>
          </ac:spMkLst>
        </pc:spChg>
        <pc:spChg chg="add del mod">
          <ac:chgData name="Oğuz Öztekin" userId="33c0df0f-d5fe-4bda-8f43-141ad7af67e3" providerId="ADAL" clId="{48B824AD-1B2A-47A8-8D92-6FE6E622A650}" dt="2024-12-16T09:12:27.654" v="10881"/>
          <ac:spMkLst>
            <pc:docMk/>
            <pc:sldMk cId="594020395" sldId="280"/>
            <ac:spMk id="26" creationId="{1C455A1E-DBB9-7469-DDAE-EEDAC3F50367}"/>
          </ac:spMkLst>
        </pc:spChg>
        <pc:spChg chg="add del mod modVis">
          <ac:chgData name="Oğuz Öztekin" userId="33c0df0f-d5fe-4bda-8f43-141ad7af67e3" providerId="ADAL" clId="{48B824AD-1B2A-47A8-8D92-6FE6E622A650}" dt="2024-12-16T09:12:27.686" v="10907"/>
          <ac:spMkLst>
            <pc:docMk/>
            <pc:sldMk cId="594020395" sldId="280"/>
            <ac:spMk id="28" creationId="{49C306B6-6CFB-FE4B-083F-4674544A62EA}"/>
          </ac:spMkLst>
        </pc:spChg>
        <pc:spChg chg="add del mod modVis">
          <ac:chgData name="Oğuz Öztekin" userId="33c0df0f-d5fe-4bda-8f43-141ad7af67e3" providerId="ADAL" clId="{48B824AD-1B2A-47A8-8D92-6FE6E622A650}" dt="2024-12-16T09:12:29.017" v="10991"/>
          <ac:spMkLst>
            <pc:docMk/>
            <pc:sldMk cId="594020395" sldId="280"/>
            <ac:spMk id="30" creationId="{7209C4FB-3F13-FFE4-7056-7B9D69987F7C}"/>
          </ac:spMkLst>
        </pc:spChg>
        <pc:spChg chg="del mod">
          <ac:chgData name="Oğuz Öztekin" userId="33c0df0f-d5fe-4bda-8f43-141ad7af67e3" providerId="ADAL" clId="{48B824AD-1B2A-47A8-8D92-6FE6E622A650}" dt="2024-12-16T09:13:36.787" v="12468"/>
          <ac:spMkLst>
            <pc:docMk/>
            <pc:sldMk cId="594020395" sldId="280"/>
            <ac:spMk id="32" creationId="{F93F298F-2A59-3AE6-0F82-29D5BCF18E1B}"/>
          </ac:spMkLst>
        </pc:spChg>
        <pc:spChg chg="add del mod modVis">
          <ac:chgData name="Oğuz Öztekin" userId="33c0df0f-d5fe-4bda-8f43-141ad7af67e3" providerId="ADAL" clId="{48B824AD-1B2A-47A8-8D92-6FE6E622A650}" dt="2024-12-16T09:13:49.777" v="12703"/>
          <ac:spMkLst>
            <pc:docMk/>
            <pc:sldMk cId="594020395" sldId="280"/>
            <ac:spMk id="34" creationId="{CF54BEF7-4B78-14AE-C509-3DC5DF11EE79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35" creationId="{3E9F1F75-4021-E92C-3FB5-3259B6E56D9B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36" creationId="{398C4C45-3695-8C37-D5DF-7A406FD7B0F5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37" creationId="{F2FA9605-EB2E-6CD9-EE02-3C1527136C50}"/>
          </ac:spMkLst>
        </pc:spChg>
        <pc:spChg chg="add del mod ord">
          <ac:chgData name="Oğuz Öztekin" userId="33c0df0f-d5fe-4bda-8f43-141ad7af67e3" providerId="ADAL" clId="{48B824AD-1B2A-47A8-8D92-6FE6E622A650}" dt="2024-12-16T09:15:50.230" v="15476"/>
          <ac:spMkLst>
            <pc:docMk/>
            <pc:sldMk cId="594020395" sldId="280"/>
            <ac:spMk id="38" creationId="{0CD60EF2-F8AD-F045-D170-5CF367366F09}"/>
          </ac:spMkLst>
        </pc:spChg>
        <pc:spChg chg="add del mod modVis">
          <ac:chgData name="Oğuz Öztekin" userId="33c0df0f-d5fe-4bda-8f43-141ad7af67e3" providerId="ADAL" clId="{48B824AD-1B2A-47A8-8D92-6FE6E622A650}" dt="2024-12-16T09:13:56.960" v="12829"/>
          <ac:spMkLst>
            <pc:docMk/>
            <pc:sldMk cId="594020395" sldId="280"/>
            <ac:spMk id="41" creationId="{6BE7A09F-D524-31A4-B4F2-FF0B080511B6}"/>
          </ac:spMkLst>
        </pc:spChg>
        <pc:spChg chg="add del mod modVis">
          <ac:chgData name="Oğuz Öztekin" userId="33c0df0f-d5fe-4bda-8f43-141ad7af67e3" providerId="ADAL" clId="{48B824AD-1B2A-47A8-8D92-6FE6E622A650}" dt="2024-12-16T09:14:04.920" v="12955"/>
          <ac:spMkLst>
            <pc:docMk/>
            <pc:sldMk cId="594020395" sldId="280"/>
            <ac:spMk id="44" creationId="{B19D8BC6-851F-4BD7-AFFF-E785AEFD00D8}"/>
          </ac:spMkLst>
        </pc:spChg>
        <pc:spChg chg="add del mod modVis">
          <ac:chgData name="Oğuz Öztekin" userId="33c0df0f-d5fe-4bda-8f43-141ad7af67e3" providerId="ADAL" clId="{48B824AD-1B2A-47A8-8D92-6FE6E622A650}" dt="2024-12-16T09:14:07.678" v="13081"/>
          <ac:spMkLst>
            <pc:docMk/>
            <pc:sldMk cId="594020395" sldId="280"/>
            <ac:spMk id="46" creationId="{6C8FD2DD-E6CA-30CA-7122-930DBF1FA4F3}"/>
          </ac:spMkLst>
        </pc:spChg>
        <pc:spChg chg="add del mod modVis">
          <ac:chgData name="Oğuz Öztekin" userId="33c0df0f-d5fe-4bda-8f43-141ad7af67e3" providerId="ADAL" clId="{48B824AD-1B2A-47A8-8D92-6FE6E622A650}" dt="2024-12-16T09:14:12.165" v="13218"/>
          <ac:spMkLst>
            <pc:docMk/>
            <pc:sldMk cId="594020395" sldId="280"/>
            <ac:spMk id="48" creationId="{29C9C531-A16A-50D8-FBEF-21CB5F220049}"/>
          </ac:spMkLst>
        </pc:spChg>
        <pc:spChg chg="add del mod modVis">
          <ac:chgData name="Oğuz Öztekin" userId="33c0df0f-d5fe-4bda-8f43-141ad7af67e3" providerId="ADAL" clId="{48B824AD-1B2A-47A8-8D92-6FE6E622A650}" dt="2024-12-16T09:14:15.560" v="13406"/>
          <ac:spMkLst>
            <pc:docMk/>
            <pc:sldMk cId="594020395" sldId="280"/>
            <ac:spMk id="50" creationId="{191F507A-7418-F997-D0B5-D6D6C9CB9715}"/>
          </ac:spMkLst>
        </pc:spChg>
        <pc:spChg chg="add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51" creationId="{C371C815-064C-7820-BBDD-081A023339F2}"/>
          </ac:spMkLst>
        </pc:spChg>
        <pc:spChg chg="add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52" creationId="{975A46FA-97AE-1D8E-9B01-48A3F2917481}"/>
          </ac:spMkLst>
        </pc:spChg>
        <pc:spChg chg="add del mod modVis">
          <ac:chgData name="Oğuz Öztekin" userId="33c0df0f-d5fe-4bda-8f43-141ad7af67e3" providerId="ADAL" clId="{48B824AD-1B2A-47A8-8D92-6FE6E622A650}" dt="2024-12-16T09:14:23.204" v="13511"/>
          <ac:spMkLst>
            <pc:docMk/>
            <pc:sldMk cId="594020395" sldId="280"/>
            <ac:spMk id="55" creationId="{204E4DF7-8889-4015-875E-06D136A58271}"/>
          </ac:spMkLst>
        </pc:spChg>
        <pc:spChg chg="add del mod modVis">
          <ac:chgData name="Oğuz Öztekin" userId="33c0df0f-d5fe-4bda-8f43-141ad7af67e3" providerId="ADAL" clId="{48B824AD-1B2A-47A8-8D92-6FE6E622A650}" dt="2024-12-16T09:14:25.666" v="13616"/>
          <ac:spMkLst>
            <pc:docMk/>
            <pc:sldMk cId="594020395" sldId="280"/>
            <ac:spMk id="57" creationId="{1C0CDF68-2531-02E1-A1C1-1F8753EE5851}"/>
          </ac:spMkLst>
        </pc:spChg>
        <pc:spChg chg="add del mod modVis">
          <ac:chgData name="Oğuz Öztekin" userId="33c0df0f-d5fe-4bda-8f43-141ad7af67e3" providerId="ADAL" clId="{48B824AD-1B2A-47A8-8D92-6FE6E622A650}" dt="2024-12-16T09:14:26.243" v="13721"/>
          <ac:spMkLst>
            <pc:docMk/>
            <pc:sldMk cId="594020395" sldId="280"/>
            <ac:spMk id="59" creationId="{AFF2848D-A92D-4B02-4719-34726EDA0F47}"/>
          </ac:spMkLst>
        </pc:spChg>
        <pc:spChg chg="add del mod modVis">
          <ac:chgData name="Oğuz Öztekin" userId="33c0df0f-d5fe-4bda-8f43-141ad7af67e3" providerId="ADAL" clId="{48B824AD-1B2A-47A8-8D92-6FE6E622A650}" dt="2024-12-16T09:14:27.273" v="13826"/>
          <ac:spMkLst>
            <pc:docMk/>
            <pc:sldMk cId="594020395" sldId="280"/>
            <ac:spMk id="61" creationId="{B0A0CF19-F7F8-9BA7-35EC-9D9DCF823B64}"/>
          </ac:spMkLst>
        </pc:spChg>
        <pc:spChg chg="add del mod modVis">
          <ac:chgData name="Oğuz Öztekin" userId="33c0df0f-d5fe-4bda-8f43-141ad7af67e3" providerId="ADAL" clId="{48B824AD-1B2A-47A8-8D92-6FE6E622A650}" dt="2024-12-16T09:14:34.657" v="13936"/>
          <ac:spMkLst>
            <pc:docMk/>
            <pc:sldMk cId="594020395" sldId="280"/>
            <ac:spMk id="63" creationId="{AD55C2EF-9C84-91D0-D200-607320F127C1}"/>
          </ac:spMkLst>
        </pc:spChg>
        <pc:spChg chg="add del mod modVis">
          <ac:chgData name="Oğuz Öztekin" userId="33c0df0f-d5fe-4bda-8f43-141ad7af67e3" providerId="ADAL" clId="{48B824AD-1B2A-47A8-8D92-6FE6E622A650}" dt="2024-12-16T09:14:42.690" v="14048"/>
          <ac:spMkLst>
            <pc:docMk/>
            <pc:sldMk cId="594020395" sldId="280"/>
            <ac:spMk id="65" creationId="{C2F15EFE-C8B6-F027-4A89-4D97461FF8F5}"/>
          </ac:spMkLst>
        </pc:spChg>
        <pc:spChg chg="add del mod modVis">
          <ac:chgData name="Oğuz Öztekin" userId="33c0df0f-d5fe-4bda-8f43-141ad7af67e3" providerId="ADAL" clId="{48B824AD-1B2A-47A8-8D92-6FE6E622A650}" dt="2024-12-16T09:14:56.457" v="14181"/>
          <ac:spMkLst>
            <pc:docMk/>
            <pc:sldMk cId="594020395" sldId="280"/>
            <ac:spMk id="67" creationId="{4E9254B4-F6BF-BD6A-AAF6-0D489FC671CD}"/>
          </ac:spMkLst>
        </pc:spChg>
        <pc:spChg chg="add del mod modVis">
          <ac:chgData name="Oğuz Öztekin" userId="33c0df0f-d5fe-4bda-8f43-141ad7af67e3" providerId="ADAL" clId="{48B824AD-1B2A-47A8-8D92-6FE6E622A650}" dt="2024-12-16T09:14:59.462" v="14314"/>
          <ac:spMkLst>
            <pc:docMk/>
            <pc:sldMk cId="594020395" sldId="280"/>
            <ac:spMk id="69" creationId="{B366A64A-6744-261A-938E-A96601005650}"/>
          </ac:spMkLst>
        </pc:spChg>
        <pc:spChg chg="add del mod modVis">
          <ac:chgData name="Oğuz Öztekin" userId="33c0df0f-d5fe-4bda-8f43-141ad7af67e3" providerId="ADAL" clId="{48B824AD-1B2A-47A8-8D92-6FE6E622A650}" dt="2024-12-16T09:15:26.651" v="14520"/>
          <ac:spMkLst>
            <pc:docMk/>
            <pc:sldMk cId="594020395" sldId="280"/>
            <ac:spMk id="71" creationId="{C97F4E20-1FA0-EDE7-D964-FC8D31EF5D68}"/>
          </ac:spMkLst>
        </pc:spChg>
        <pc:spChg chg="add del mod or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72" creationId="{217962B5-07D1-A6BB-D924-2FCFE734D1BA}"/>
          </ac:spMkLst>
        </pc:spChg>
        <pc:spChg chg="add del mod modVis">
          <ac:chgData name="Oğuz Öztekin" userId="33c0df0f-d5fe-4bda-8f43-141ad7af67e3" providerId="ADAL" clId="{48B824AD-1B2A-47A8-8D92-6FE6E622A650}" dt="2024-12-16T09:15:31.803" v="14797"/>
          <ac:spMkLst>
            <pc:docMk/>
            <pc:sldMk cId="594020395" sldId="280"/>
            <ac:spMk id="77" creationId="{1E40CE88-EC41-EA80-A225-B79576FC40C7}"/>
          </ac:spMkLst>
        </pc:spChg>
        <pc:spChg chg="add del mod modVis">
          <ac:chgData name="Oğuz Öztekin" userId="33c0df0f-d5fe-4bda-8f43-141ad7af67e3" providerId="ADAL" clId="{48B824AD-1B2A-47A8-8D92-6FE6E622A650}" dt="2024-12-16T09:15:35.751" v="15102"/>
          <ac:spMkLst>
            <pc:docMk/>
            <pc:sldMk cId="594020395" sldId="280"/>
            <ac:spMk id="79" creationId="{1C5E2687-9933-70F2-DBDE-A8364A516C81}"/>
          </ac:spMkLst>
        </pc:spChg>
        <pc:spChg chg="add del mod modVis">
          <ac:chgData name="Oğuz Öztekin" userId="33c0df0f-d5fe-4bda-8f43-141ad7af67e3" providerId="ADAL" clId="{48B824AD-1B2A-47A8-8D92-6FE6E622A650}" dt="2024-12-16T09:15:41.525" v="15286"/>
          <ac:spMkLst>
            <pc:docMk/>
            <pc:sldMk cId="594020395" sldId="280"/>
            <ac:spMk id="81" creationId="{15B3BC6C-ADEC-75C4-6928-6CE1771CF524}"/>
          </ac:spMkLst>
        </pc:spChg>
        <pc:spChg chg="add del mod modVis">
          <ac:chgData name="Oğuz Öztekin" userId="33c0df0f-d5fe-4bda-8f43-141ad7af67e3" providerId="ADAL" clId="{48B824AD-1B2A-47A8-8D92-6FE6E622A650}" dt="2024-12-16T09:15:44.543" v="15470"/>
          <ac:spMkLst>
            <pc:docMk/>
            <pc:sldMk cId="594020395" sldId="280"/>
            <ac:spMk id="83" creationId="{C48238D0-8E02-427E-37A8-DD27DA5138B9}"/>
          </ac:spMkLst>
        </pc:spChg>
        <pc:spChg chg="add del mod modVis">
          <ac:chgData name="Oğuz Öztekin" userId="33c0df0f-d5fe-4bda-8f43-141ad7af67e3" providerId="ADAL" clId="{48B824AD-1B2A-47A8-8D92-6FE6E622A650}" dt="2024-12-16T09:15:50.290" v="15564"/>
          <ac:spMkLst>
            <pc:docMk/>
            <pc:sldMk cId="594020395" sldId="280"/>
            <ac:spMk id="85" creationId="{A364F48A-44D6-1451-51C3-F4E17C7E4B0B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86" creationId="{4398599D-315C-1B83-0AC7-A49EF39A88FA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87" creationId="{317A7B25-7BDD-13B5-300B-66A0DCE222F3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88" creationId="{11ACAB09-F112-8BB0-41D7-61A6DB96892C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89" creationId="{3BFC80D0-9BA7-5A34-05AC-5195C5B084B0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90" creationId="{D3A26D38-7D44-3AB5-F264-76C525055ABA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91" creationId="{86085410-C76B-EBD9-A398-9527CC61790C}"/>
          </ac:spMkLst>
        </pc:spChg>
        <pc:spChg chg="add del mod">
          <ac:chgData name="Oğuz Öztekin" userId="33c0df0f-d5fe-4bda-8f43-141ad7af67e3" providerId="ADAL" clId="{48B824AD-1B2A-47A8-8D92-6FE6E622A650}" dt="2024-12-16T10:56:10.119" v="31242"/>
          <ac:spMkLst>
            <pc:docMk/>
            <pc:sldMk cId="594020395" sldId="280"/>
            <ac:spMk id="92" creationId="{044543A5-1D2D-7E42-A7E9-0194FAFF5FF9}"/>
          </ac:spMkLst>
        </pc:spChg>
        <pc:spChg chg="add del mod modVis">
          <ac:chgData name="Oğuz Öztekin" userId="33c0df0f-d5fe-4bda-8f43-141ad7af67e3" providerId="ADAL" clId="{48B824AD-1B2A-47A8-8D92-6FE6E622A650}" dt="2024-12-16T09:15:55.538" v="15733"/>
          <ac:spMkLst>
            <pc:docMk/>
            <pc:sldMk cId="594020395" sldId="280"/>
            <ac:spMk id="94" creationId="{085BD675-3828-06BD-40A6-8CDC57B9A53E}"/>
          </ac:spMkLst>
        </pc:spChg>
        <pc:spChg chg="add del mod modVis">
          <ac:chgData name="Oğuz Öztekin" userId="33c0df0f-d5fe-4bda-8f43-141ad7af67e3" providerId="ADAL" clId="{48B824AD-1B2A-47A8-8D92-6FE6E622A650}" dt="2024-12-16T09:15:57.685" v="15902"/>
          <ac:spMkLst>
            <pc:docMk/>
            <pc:sldMk cId="594020395" sldId="280"/>
            <ac:spMk id="160" creationId="{A9E003FE-4871-A545-8FDE-6F4AA9D61F31}"/>
          </ac:spMkLst>
        </pc:spChg>
        <pc:spChg chg="add del mod modVis">
          <ac:chgData name="Oğuz Öztekin" userId="33c0df0f-d5fe-4bda-8f43-141ad7af67e3" providerId="ADAL" clId="{48B824AD-1B2A-47A8-8D92-6FE6E622A650}" dt="2024-12-16T09:16:00.796" v="16082"/>
          <ac:spMkLst>
            <pc:docMk/>
            <pc:sldMk cId="594020395" sldId="280"/>
            <ac:spMk id="162" creationId="{B81E0E4B-4984-3D0D-5E45-21CA5EE8B2B5}"/>
          </ac:spMkLst>
        </pc:spChg>
        <pc:spChg chg="add del mod modVis">
          <ac:chgData name="Oğuz Öztekin" userId="33c0df0f-d5fe-4bda-8f43-141ad7af67e3" providerId="ADAL" clId="{48B824AD-1B2A-47A8-8D92-6FE6E622A650}" dt="2024-12-16T09:16:08.392" v="16331"/>
          <ac:spMkLst>
            <pc:docMk/>
            <pc:sldMk cId="594020395" sldId="280"/>
            <ac:spMk id="164" creationId="{D6DFE5A8-FD2F-F57C-8060-9D0C9233CD65}"/>
          </ac:spMkLst>
        </pc:spChg>
        <pc:spChg chg="add del mod modVis">
          <ac:chgData name="Oğuz Öztekin" userId="33c0df0f-d5fe-4bda-8f43-141ad7af67e3" providerId="ADAL" clId="{48B824AD-1B2A-47A8-8D92-6FE6E622A650}" dt="2024-12-16T09:16:13.111" v="16511"/>
          <ac:spMkLst>
            <pc:docMk/>
            <pc:sldMk cId="594020395" sldId="280"/>
            <ac:spMk id="166" creationId="{9F4D537B-76E6-1087-C976-4CE9C5645D1D}"/>
          </ac:spMkLst>
        </pc:spChg>
        <pc:spChg chg="add del mod modVis">
          <ac:chgData name="Oğuz Öztekin" userId="33c0df0f-d5fe-4bda-8f43-141ad7af67e3" providerId="ADAL" clId="{48B824AD-1B2A-47A8-8D92-6FE6E622A650}" dt="2024-12-16T09:16:14.965" v="16647"/>
          <ac:spMkLst>
            <pc:docMk/>
            <pc:sldMk cId="594020395" sldId="280"/>
            <ac:spMk id="168" creationId="{E2780D46-5B46-3657-786D-060DC91341D1}"/>
          </ac:spMkLst>
        </pc:spChg>
        <pc:spChg chg="add del mod modVis">
          <ac:chgData name="Oğuz Öztekin" userId="33c0df0f-d5fe-4bda-8f43-141ad7af67e3" providerId="ADAL" clId="{48B824AD-1B2A-47A8-8D92-6FE6E622A650}" dt="2024-12-16T09:16:17.858" v="16821"/>
          <ac:spMkLst>
            <pc:docMk/>
            <pc:sldMk cId="594020395" sldId="280"/>
            <ac:spMk id="170" creationId="{42593456-622B-2E8A-E4C2-1171C8772BC2}"/>
          </ac:spMkLst>
        </pc:spChg>
        <pc:spChg chg="add del mod modVis">
          <ac:chgData name="Oğuz Öztekin" userId="33c0df0f-d5fe-4bda-8f43-141ad7af67e3" providerId="ADAL" clId="{48B824AD-1B2A-47A8-8D92-6FE6E622A650}" dt="2024-12-16T09:16:20.190" v="16995"/>
          <ac:spMkLst>
            <pc:docMk/>
            <pc:sldMk cId="594020395" sldId="280"/>
            <ac:spMk id="172" creationId="{045EEE4C-8A65-A00E-5A0D-A5B80DA384B8}"/>
          </ac:spMkLst>
        </pc:spChg>
        <pc:spChg chg="add del mod modVis">
          <ac:chgData name="Oğuz Öztekin" userId="33c0df0f-d5fe-4bda-8f43-141ad7af67e3" providerId="ADAL" clId="{48B824AD-1B2A-47A8-8D92-6FE6E622A650}" dt="2024-12-16T09:16:22.882" v="17153"/>
          <ac:spMkLst>
            <pc:docMk/>
            <pc:sldMk cId="594020395" sldId="280"/>
            <ac:spMk id="174" creationId="{CD46A314-D504-A0F0-12B7-64382300BAFF}"/>
          </ac:spMkLst>
        </pc:spChg>
        <pc:spChg chg="add del mod modVis">
          <ac:chgData name="Oğuz Öztekin" userId="33c0df0f-d5fe-4bda-8f43-141ad7af67e3" providerId="ADAL" clId="{48B824AD-1B2A-47A8-8D92-6FE6E622A650}" dt="2024-12-16T09:16:27.924" v="17287"/>
          <ac:spMkLst>
            <pc:docMk/>
            <pc:sldMk cId="594020395" sldId="280"/>
            <ac:spMk id="176" creationId="{9EFF0879-19D8-E14B-5984-18CF3461B4AD}"/>
          </ac:spMkLst>
        </pc:spChg>
        <pc:spChg chg="add del mod modVis">
          <ac:chgData name="Oğuz Öztekin" userId="33c0df0f-d5fe-4bda-8f43-141ad7af67e3" providerId="ADAL" clId="{48B824AD-1B2A-47A8-8D92-6FE6E622A650}" dt="2024-12-16T09:16:57.216" v="17486"/>
          <ac:spMkLst>
            <pc:docMk/>
            <pc:sldMk cId="594020395" sldId="280"/>
            <ac:spMk id="178" creationId="{7BE679BD-74F7-876D-A877-88BA6EFF91A2}"/>
          </ac:spMkLst>
        </pc:spChg>
        <pc:spChg chg="add del mod modVis">
          <ac:chgData name="Oğuz Öztekin" userId="33c0df0f-d5fe-4bda-8f43-141ad7af67e3" providerId="ADAL" clId="{48B824AD-1B2A-47A8-8D92-6FE6E622A650}" dt="2024-12-16T09:17:10.725" v="17815"/>
          <ac:spMkLst>
            <pc:docMk/>
            <pc:sldMk cId="594020395" sldId="280"/>
            <ac:spMk id="180" creationId="{FA302303-240D-F073-EBF0-41CBD5FEB8D1}"/>
          </ac:spMkLst>
        </pc:spChg>
        <pc:spChg chg="add del mod">
          <ac:chgData name="Oğuz Öztekin" userId="33c0df0f-d5fe-4bda-8f43-141ad7af67e3" providerId="ADAL" clId="{48B824AD-1B2A-47A8-8D92-6FE6E622A650}" dt="2024-12-16T09:17:12.020" v="17875"/>
          <ac:spMkLst>
            <pc:docMk/>
            <pc:sldMk cId="594020395" sldId="280"/>
            <ac:spMk id="181" creationId="{34AF0572-9A1A-CE38-3B05-E78E068F788B}"/>
          </ac:spMkLst>
        </pc:spChg>
        <pc:spChg chg="add del mod">
          <ac:chgData name="Oğuz Öztekin" userId="33c0df0f-d5fe-4bda-8f43-141ad7af67e3" providerId="ADAL" clId="{48B824AD-1B2A-47A8-8D92-6FE6E622A650}" dt="2024-12-16T09:17:12.020" v="17876"/>
          <ac:spMkLst>
            <pc:docMk/>
            <pc:sldMk cId="594020395" sldId="280"/>
            <ac:spMk id="182" creationId="{464C6E21-D954-3492-D7DD-51161EC1B031}"/>
          </ac:spMkLst>
        </pc:spChg>
        <pc:spChg chg="add del mod">
          <ac:chgData name="Oğuz Öztekin" userId="33c0df0f-d5fe-4bda-8f43-141ad7af67e3" providerId="ADAL" clId="{48B824AD-1B2A-47A8-8D92-6FE6E622A650}" dt="2024-12-16T09:17:12.021" v="17877"/>
          <ac:spMkLst>
            <pc:docMk/>
            <pc:sldMk cId="594020395" sldId="280"/>
            <ac:spMk id="183" creationId="{AEE74517-BF1E-AAA2-0319-C22B0FAB9FEF}"/>
          </ac:spMkLst>
        </pc:spChg>
        <pc:spChg chg="add del mod">
          <ac:chgData name="Oğuz Öztekin" userId="33c0df0f-d5fe-4bda-8f43-141ad7af67e3" providerId="ADAL" clId="{48B824AD-1B2A-47A8-8D92-6FE6E622A650}" dt="2024-12-16T09:17:12.021" v="17878"/>
          <ac:spMkLst>
            <pc:docMk/>
            <pc:sldMk cId="594020395" sldId="280"/>
            <ac:spMk id="184" creationId="{5D608B1E-ABFD-8A09-255B-E8EA2237C9A1}"/>
          </ac:spMkLst>
        </pc:spChg>
        <pc:spChg chg="add del mod">
          <ac:chgData name="Oğuz Öztekin" userId="33c0df0f-d5fe-4bda-8f43-141ad7af67e3" providerId="ADAL" clId="{48B824AD-1B2A-47A8-8D92-6FE6E622A650}" dt="2024-12-16T09:17:12.021" v="17879"/>
          <ac:spMkLst>
            <pc:docMk/>
            <pc:sldMk cId="594020395" sldId="280"/>
            <ac:spMk id="185" creationId="{9FC7F473-F5C0-2880-0482-D554AFB09526}"/>
          </ac:spMkLst>
        </pc:spChg>
        <pc:spChg chg="add del mod modVis">
          <ac:chgData name="Oğuz Öztekin" userId="33c0df0f-d5fe-4bda-8f43-141ad7af67e3" providerId="ADAL" clId="{48B824AD-1B2A-47A8-8D92-6FE6E622A650}" dt="2024-12-16T09:17:12.053" v="17915"/>
          <ac:spMkLst>
            <pc:docMk/>
            <pc:sldMk cId="594020395" sldId="280"/>
            <ac:spMk id="187" creationId="{F057C1F5-E293-944C-C492-38F68A47FE18}"/>
          </ac:spMkLst>
        </pc:spChg>
        <pc:spChg chg="del">
          <ac:chgData name="Oğuz Öztekin" userId="33c0df0f-d5fe-4bda-8f43-141ad7af67e3" providerId="ADAL" clId="{48B824AD-1B2A-47A8-8D92-6FE6E622A650}" dt="2024-12-16T09:11:58.822" v="9643"/>
          <ac:spMkLst>
            <pc:docMk/>
            <pc:sldMk cId="594020395" sldId="280"/>
            <ac:spMk id="191" creationId="{6B3CCA0E-A0BF-0922-0284-96A0D5DD03EB}"/>
          </ac:spMkLst>
        </pc:spChg>
        <pc:spChg chg="del">
          <ac:chgData name="Oğuz Öztekin" userId="33c0df0f-d5fe-4bda-8f43-141ad7af67e3" providerId="ADAL" clId="{48B824AD-1B2A-47A8-8D92-6FE6E622A650}" dt="2024-12-16T09:11:58.823" v="9646"/>
          <ac:spMkLst>
            <pc:docMk/>
            <pc:sldMk cId="594020395" sldId="280"/>
            <ac:spMk id="192" creationId="{3786ECD7-82C4-383A-5F60-6B1D8941C134}"/>
          </ac:spMkLst>
        </pc:spChg>
        <pc:spChg chg="add del mod modVis">
          <ac:chgData name="Oğuz Öztekin" userId="33c0df0f-d5fe-4bda-8f43-141ad7af67e3" providerId="ADAL" clId="{48B824AD-1B2A-47A8-8D92-6FE6E622A650}" dt="2024-12-16T09:12:30.867" v="11073"/>
          <ac:spMkLst>
            <pc:docMk/>
            <pc:sldMk cId="594020395" sldId="280"/>
            <ac:spMk id="224" creationId="{7D6C6A39-7AD9-FF9B-B80B-F064C2C9105F}"/>
          </ac:spMkLst>
        </pc:spChg>
        <pc:spChg chg="add del mod modVis">
          <ac:chgData name="Oğuz Öztekin" userId="33c0df0f-d5fe-4bda-8f43-141ad7af67e3" providerId="ADAL" clId="{48B824AD-1B2A-47A8-8D92-6FE6E622A650}" dt="2024-12-16T09:12:33.537" v="11177"/>
          <ac:spMkLst>
            <pc:docMk/>
            <pc:sldMk cId="594020395" sldId="280"/>
            <ac:spMk id="226" creationId="{1A237EB7-0A81-FE21-2EAA-A3FF9B3AFAAA}"/>
          </ac:spMkLst>
        </pc:spChg>
        <pc:spChg chg="add del mod modVis">
          <ac:chgData name="Oğuz Öztekin" userId="33c0df0f-d5fe-4bda-8f43-141ad7af67e3" providerId="ADAL" clId="{48B824AD-1B2A-47A8-8D92-6FE6E622A650}" dt="2024-12-16T09:12:35.159" v="11269"/>
          <ac:spMkLst>
            <pc:docMk/>
            <pc:sldMk cId="594020395" sldId="280"/>
            <ac:spMk id="228" creationId="{5973651B-568B-7312-DA1B-E760F711CDF4}"/>
          </ac:spMkLst>
        </pc:spChg>
        <pc:spChg chg="add del mod modVis">
          <ac:chgData name="Oğuz Öztekin" userId="33c0df0f-d5fe-4bda-8f43-141ad7af67e3" providerId="ADAL" clId="{48B824AD-1B2A-47A8-8D92-6FE6E622A650}" dt="2024-12-16T09:12:44.538" v="11363"/>
          <ac:spMkLst>
            <pc:docMk/>
            <pc:sldMk cId="594020395" sldId="280"/>
            <ac:spMk id="230" creationId="{DABBFFFC-1496-1B54-8603-EFC10F02FBF4}"/>
          </ac:spMkLst>
        </pc:spChg>
        <pc:spChg chg="add del mod modVis">
          <ac:chgData name="Oğuz Öztekin" userId="33c0df0f-d5fe-4bda-8f43-141ad7af67e3" providerId="ADAL" clId="{48B824AD-1B2A-47A8-8D92-6FE6E622A650}" dt="2024-12-16T09:12:47.082" v="11447"/>
          <ac:spMkLst>
            <pc:docMk/>
            <pc:sldMk cId="594020395" sldId="280"/>
            <ac:spMk id="232" creationId="{2F999B16-0E4C-5803-FC14-79E1E5AF049F}"/>
          </ac:spMkLst>
        </pc:spChg>
        <pc:spChg chg="add del mod modVis">
          <ac:chgData name="Oğuz Öztekin" userId="33c0df0f-d5fe-4bda-8f43-141ad7af67e3" providerId="ADAL" clId="{48B824AD-1B2A-47A8-8D92-6FE6E622A650}" dt="2024-12-16T09:12:50.662" v="11547"/>
          <ac:spMkLst>
            <pc:docMk/>
            <pc:sldMk cId="594020395" sldId="280"/>
            <ac:spMk id="234" creationId="{7A87CCBA-1343-9209-AD56-28C971344F32}"/>
          </ac:spMkLst>
        </pc:spChg>
        <pc:spChg chg="add del mod modVis">
          <ac:chgData name="Oğuz Öztekin" userId="33c0df0f-d5fe-4bda-8f43-141ad7af67e3" providerId="ADAL" clId="{48B824AD-1B2A-47A8-8D92-6FE6E622A650}" dt="2024-12-16T09:12:53.061" v="11686"/>
          <ac:spMkLst>
            <pc:docMk/>
            <pc:sldMk cId="594020395" sldId="280"/>
            <ac:spMk id="236" creationId="{91ECD388-19C0-23FE-3D09-C25B40E91F65}"/>
          </ac:spMkLst>
        </pc:spChg>
        <pc:spChg chg="add del mod">
          <ac:chgData name="Oğuz Öztekin" userId="33c0df0f-d5fe-4bda-8f43-141ad7af67e3" providerId="ADAL" clId="{48B824AD-1B2A-47A8-8D92-6FE6E622A650}" dt="2024-12-16T09:12:54.740" v="11742"/>
          <ac:spMkLst>
            <pc:docMk/>
            <pc:sldMk cId="594020395" sldId="280"/>
            <ac:spMk id="237" creationId="{02E780F6-6345-B8A8-56C0-080D099A4CC9}"/>
          </ac:spMkLst>
        </pc:spChg>
        <pc:spChg chg="add del mod modVis">
          <ac:chgData name="Oğuz Öztekin" userId="33c0df0f-d5fe-4bda-8f43-141ad7af67e3" providerId="ADAL" clId="{48B824AD-1B2A-47A8-8D92-6FE6E622A650}" dt="2024-12-16T09:12:54.762" v="11768"/>
          <ac:spMkLst>
            <pc:docMk/>
            <pc:sldMk cId="594020395" sldId="280"/>
            <ac:spMk id="239" creationId="{6F20D782-7F84-FE17-C60A-B873F960E1E5}"/>
          </ac:spMkLst>
        </pc:spChg>
        <pc:spChg chg="add del mod modVis">
          <ac:chgData name="Oğuz Öztekin" userId="33c0df0f-d5fe-4bda-8f43-141ad7af67e3" providerId="ADAL" clId="{48B824AD-1B2A-47A8-8D92-6FE6E622A650}" dt="2024-12-16T09:12:56.542" v="11848"/>
          <ac:spMkLst>
            <pc:docMk/>
            <pc:sldMk cId="594020395" sldId="280"/>
            <ac:spMk id="241" creationId="{28212591-0267-BF47-B075-68A52F782694}"/>
          </ac:spMkLst>
        </pc:spChg>
        <pc:spChg chg="add del mod modVis">
          <ac:chgData name="Oğuz Öztekin" userId="33c0df0f-d5fe-4bda-8f43-141ad7af67e3" providerId="ADAL" clId="{48B824AD-1B2A-47A8-8D92-6FE6E622A650}" dt="2024-12-16T09:13:01.673" v="11942"/>
          <ac:spMkLst>
            <pc:docMk/>
            <pc:sldMk cId="594020395" sldId="280"/>
            <ac:spMk id="243" creationId="{0BCED887-54B5-3339-35DD-2DC140F6ADCE}"/>
          </ac:spMkLst>
        </pc:spChg>
        <pc:spChg chg="add del mod modVis">
          <ac:chgData name="Oğuz Öztekin" userId="33c0df0f-d5fe-4bda-8f43-141ad7af67e3" providerId="ADAL" clId="{48B824AD-1B2A-47A8-8D92-6FE6E622A650}" dt="2024-12-16T09:13:05.978" v="12022"/>
          <ac:spMkLst>
            <pc:docMk/>
            <pc:sldMk cId="594020395" sldId="280"/>
            <ac:spMk id="245" creationId="{2835FA9A-37D6-7566-9859-7C704FC9C611}"/>
          </ac:spMkLst>
        </pc:spChg>
        <pc:spChg chg="add del mod modVis">
          <ac:chgData name="Oğuz Öztekin" userId="33c0df0f-d5fe-4bda-8f43-141ad7af67e3" providerId="ADAL" clId="{48B824AD-1B2A-47A8-8D92-6FE6E622A650}" dt="2024-12-16T09:13:15.800" v="12137"/>
          <ac:spMkLst>
            <pc:docMk/>
            <pc:sldMk cId="594020395" sldId="280"/>
            <ac:spMk id="247" creationId="{0D90D123-9998-8916-52FB-EC8ECFD19EF5}"/>
          </ac:spMkLst>
        </pc:spChg>
        <pc:spChg chg="add del mod ord">
          <ac:chgData name="Oğuz Öztekin" userId="33c0df0f-d5fe-4bda-8f43-141ad7af67e3" providerId="ADAL" clId="{48B824AD-1B2A-47A8-8D92-6FE6E622A650}" dt="2024-12-16T09:13:19.438" v="12218"/>
          <ac:spMkLst>
            <pc:docMk/>
            <pc:sldMk cId="594020395" sldId="280"/>
            <ac:spMk id="250" creationId="{ADC7FE6B-71BD-56FF-FF2F-18271D62D969}"/>
          </ac:spMkLst>
        </pc:spChg>
        <pc:spChg chg="add del mod modVis">
          <ac:chgData name="Oğuz Öztekin" userId="33c0df0f-d5fe-4bda-8f43-141ad7af67e3" providerId="ADAL" clId="{48B824AD-1B2A-47A8-8D92-6FE6E622A650}" dt="2024-12-16T09:13:19.442" v="12237"/>
          <ac:spMkLst>
            <pc:docMk/>
            <pc:sldMk cId="594020395" sldId="280"/>
            <ac:spMk id="251" creationId="{2E15C042-6BFB-3EB7-F9E1-E168A37592F9}"/>
          </ac:spMkLst>
        </pc:spChg>
        <pc:spChg chg="add del mod modVis">
          <ac:chgData name="Oğuz Öztekin" userId="33c0df0f-d5fe-4bda-8f43-141ad7af67e3" providerId="ADAL" clId="{48B824AD-1B2A-47A8-8D92-6FE6E622A650}" dt="2024-12-16T09:13:22.553" v="12331"/>
          <ac:spMkLst>
            <pc:docMk/>
            <pc:sldMk cId="594020395" sldId="280"/>
            <ac:spMk id="253" creationId="{B069B16F-D3A3-13BD-DC3A-FADD089BBE89}"/>
          </ac:spMkLst>
        </pc:spChg>
        <pc:spChg chg="add del mod modVis">
          <ac:chgData name="Oğuz Öztekin" userId="33c0df0f-d5fe-4bda-8f43-141ad7af67e3" providerId="ADAL" clId="{48B824AD-1B2A-47A8-8D92-6FE6E622A650}" dt="2024-12-16T09:13:33.164" v="12463"/>
          <ac:spMkLst>
            <pc:docMk/>
            <pc:sldMk cId="594020395" sldId="280"/>
            <ac:spMk id="255" creationId="{051205A2-C8F0-3EBA-292B-AF660435269A}"/>
          </ac:spMkLst>
        </pc:spChg>
        <pc:graphicFrameChg chg="mod">
          <ac:chgData name="Oğuz Öztekin" userId="33c0df0f-d5fe-4bda-8f43-141ad7af67e3" providerId="ADAL" clId="{48B824AD-1B2A-47A8-8D92-6FE6E622A650}" dt="2024-12-16T10:56:10.124" v="31244"/>
          <ac:graphicFrameMkLst>
            <pc:docMk/>
            <pc:sldMk cId="594020395" sldId="280"/>
            <ac:graphicFrameMk id="3" creationId="{9471CF8A-CAF2-6EBA-5368-90434991C2A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6:10.119" v="31242"/>
          <ac:graphicFrameMkLst>
            <pc:docMk/>
            <pc:sldMk cId="594020395" sldId="280"/>
            <ac:graphicFrameMk id="5" creationId="{C35F7C84-A014-E33B-109C-3353F85F911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15.490" v="9885"/>
          <ac:graphicFrameMkLst>
            <pc:docMk/>
            <pc:sldMk cId="594020395" sldId="280"/>
            <ac:graphicFrameMk id="5" creationId="{F597DE37-69B8-7928-9B80-2125542CBEA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18.168" v="9971"/>
          <ac:graphicFrameMkLst>
            <pc:docMk/>
            <pc:sldMk cId="594020395" sldId="280"/>
            <ac:graphicFrameMk id="7" creationId="{3397E2E5-352E-A122-8E32-FDD5E8B676E2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0:56:10.119" v="31242"/>
          <ac:graphicFrameMkLst>
            <pc:docMk/>
            <pc:sldMk cId="594020395" sldId="280"/>
            <ac:graphicFrameMk id="7" creationId="{4AD3C2BE-3419-9469-73B4-DC7CB57582C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3.904" v="10051"/>
          <ac:graphicFrameMkLst>
            <pc:docMk/>
            <pc:sldMk cId="594020395" sldId="280"/>
            <ac:graphicFrameMk id="9" creationId="{CB9C48AF-839B-7857-DB11-B4FCC30E272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6.904" v="10751"/>
          <ac:graphicFrameMkLst>
            <pc:docMk/>
            <pc:sldMk cId="594020395" sldId="280"/>
            <ac:graphicFrameMk id="11" creationId="{11966F4A-F215-EF8E-CDC8-433E679620A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7.657" v="10883"/>
          <ac:graphicFrameMkLst>
            <pc:docMk/>
            <pc:sldMk cId="594020395" sldId="280"/>
            <ac:graphicFrameMk id="27" creationId="{67F302B1-9772-0000-8909-245B4CC031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28.999" v="10967"/>
          <ac:graphicFrameMkLst>
            <pc:docMk/>
            <pc:sldMk cId="594020395" sldId="280"/>
            <ac:graphicFrameMk id="29" creationId="{0A75054C-6385-0E94-7E25-80F93054CBD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0.850" v="11049"/>
          <ac:graphicFrameMkLst>
            <pc:docMk/>
            <pc:sldMk cId="594020395" sldId="280"/>
            <ac:graphicFrameMk id="31" creationId="{FAA878FA-9B8B-34D8-B31B-CB832121C67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3:33.164" v="12463"/>
          <ac:graphicFrameMkLst>
            <pc:docMk/>
            <pc:sldMk cId="594020395" sldId="280"/>
            <ac:graphicFrameMk id="33" creationId="{4A0493F6-D6B8-2BEA-005F-B25A2BF94E4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56.935" v="12793"/>
          <ac:graphicFrameMkLst>
            <pc:docMk/>
            <pc:sldMk cId="594020395" sldId="280"/>
            <ac:graphicFrameMk id="40" creationId="{482AABED-A10B-DA22-31DD-77EA26BFB8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04.896" v="12919"/>
          <ac:graphicFrameMkLst>
            <pc:docMk/>
            <pc:sldMk cId="594020395" sldId="280"/>
            <ac:graphicFrameMk id="43" creationId="{34B422DC-6964-B9C2-EED3-A161AD94F14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07.654" v="13045"/>
          <ac:graphicFrameMkLst>
            <pc:docMk/>
            <pc:sldMk cId="594020395" sldId="280"/>
            <ac:graphicFrameMk id="45" creationId="{979F9DDD-2B67-9CD0-CD7A-58354D6839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12.146" v="13193"/>
          <ac:graphicFrameMkLst>
            <pc:docMk/>
            <pc:sldMk cId="594020395" sldId="280"/>
            <ac:graphicFrameMk id="47" creationId="{188B0A67-591F-A044-EB38-18E93AADDE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15.533" v="13367"/>
          <ac:graphicFrameMkLst>
            <pc:docMk/>
            <pc:sldMk cId="594020395" sldId="280"/>
            <ac:graphicFrameMk id="49" creationId="{0E9B360B-B2D7-3EEB-1586-48ABFA5C153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3.178" v="13472"/>
          <ac:graphicFrameMkLst>
            <pc:docMk/>
            <pc:sldMk cId="594020395" sldId="280"/>
            <ac:graphicFrameMk id="54" creationId="{690C23D3-02AC-8F46-915B-3D072F2F331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5.640" v="13577"/>
          <ac:graphicFrameMkLst>
            <pc:docMk/>
            <pc:sldMk cId="594020395" sldId="280"/>
            <ac:graphicFrameMk id="56" creationId="{3192E547-2CB7-3E20-60F1-551E10E57E9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6.218" v="13682"/>
          <ac:graphicFrameMkLst>
            <pc:docMk/>
            <pc:sldMk cId="594020395" sldId="280"/>
            <ac:graphicFrameMk id="58" creationId="{2B5E1477-E1BF-3B37-11FE-CC0777F8D6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27.248" v="13787"/>
          <ac:graphicFrameMkLst>
            <pc:docMk/>
            <pc:sldMk cId="594020395" sldId="280"/>
            <ac:graphicFrameMk id="60" creationId="{FA9E153F-99E1-AE38-7F69-2D2FBCA2359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34.637" v="13907"/>
          <ac:graphicFrameMkLst>
            <pc:docMk/>
            <pc:sldMk cId="594020395" sldId="280"/>
            <ac:graphicFrameMk id="62" creationId="{6C3B0E19-167F-AC3B-3759-A4639FD6F9C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42.671" v="14019"/>
          <ac:graphicFrameMkLst>
            <pc:docMk/>
            <pc:sldMk cId="594020395" sldId="280"/>
            <ac:graphicFrameMk id="64" creationId="{70066F89-3225-FFCB-3B97-0CEB4617174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56.431" v="14139"/>
          <ac:graphicFrameMkLst>
            <pc:docMk/>
            <pc:sldMk cId="594020395" sldId="280"/>
            <ac:graphicFrameMk id="66" creationId="{C584D0C0-FB58-2BFA-909C-C93618D2DA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4:59.434" v="14272"/>
          <ac:graphicFrameMkLst>
            <pc:docMk/>
            <pc:sldMk cId="594020395" sldId="280"/>
            <ac:graphicFrameMk id="68" creationId="{51A14197-7D74-AFB5-A283-239506DC2F6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26.622" v="14470"/>
          <ac:graphicFrameMkLst>
            <pc:docMk/>
            <pc:sldMk cId="594020395" sldId="280"/>
            <ac:graphicFrameMk id="70" creationId="{5C4A418C-7331-29E6-2AE0-7B0E0D584EC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35.716" v="15052"/>
          <ac:graphicFrameMkLst>
            <pc:docMk/>
            <pc:sldMk cId="594020395" sldId="280"/>
            <ac:graphicFrameMk id="76" creationId="{2C7EF3FE-DF11-624D-B4E4-83E06BB59873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5:31.803" v="14797"/>
          <ac:graphicFrameMkLst>
            <pc:docMk/>
            <pc:sldMk cId="594020395" sldId="280"/>
            <ac:graphicFrameMk id="78" creationId="{27D75786-8D92-4F1A-008C-D511452E6E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41.495" v="15236"/>
          <ac:graphicFrameMkLst>
            <pc:docMk/>
            <pc:sldMk cId="594020395" sldId="280"/>
            <ac:graphicFrameMk id="80" creationId="{735A2FCB-94EA-2CEB-F562-60D96B0A13E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44.515" v="15420"/>
          <ac:graphicFrameMkLst>
            <pc:docMk/>
            <pc:sldMk cId="594020395" sldId="280"/>
            <ac:graphicFrameMk id="82" creationId="{3B86262E-9333-17BC-409B-23517A6869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0.270" v="15531"/>
          <ac:graphicFrameMkLst>
            <pc:docMk/>
            <pc:sldMk cId="594020395" sldId="280"/>
            <ac:graphicFrameMk id="84" creationId="{17F51D5F-C06B-4AA0-755E-835C591145C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5.511" v="15687"/>
          <ac:graphicFrameMkLst>
            <pc:docMk/>
            <pc:sldMk cId="594020395" sldId="280"/>
            <ac:graphicFrameMk id="93" creationId="{6F434414-2F11-46E2-89F5-5BF841A4E8F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5:57.657" v="15856"/>
          <ac:graphicFrameMkLst>
            <pc:docMk/>
            <pc:sldMk cId="594020395" sldId="280"/>
            <ac:graphicFrameMk id="95" creationId="{BCF51403-59F3-627A-5E68-384A3B3C302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00.774" v="16049"/>
          <ac:graphicFrameMkLst>
            <pc:docMk/>
            <pc:sldMk cId="594020395" sldId="280"/>
            <ac:graphicFrameMk id="161" creationId="{E0C4C361-C3A3-FAC1-644E-F4F2B13D2E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08.363" v="16285"/>
          <ac:graphicFrameMkLst>
            <pc:docMk/>
            <pc:sldMk cId="594020395" sldId="280"/>
            <ac:graphicFrameMk id="163" creationId="{179F2429-C012-0DD1-1940-EEBD8C8B376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3.093" v="16478"/>
          <ac:graphicFrameMkLst>
            <pc:docMk/>
            <pc:sldMk cId="594020395" sldId="280"/>
            <ac:graphicFrameMk id="165" creationId="{BDE60E64-61C0-C2CB-4115-A7B026B3032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4.945" v="16614"/>
          <ac:graphicFrameMkLst>
            <pc:docMk/>
            <pc:sldMk cId="594020395" sldId="280"/>
            <ac:graphicFrameMk id="167" creationId="{C0E5826D-DF9C-B0C7-4BC1-1BEEC8968D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17.830" v="16775"/>
          <ac:graphicFrameMkLst>
            <pc:docMk/>
            <pc:sldMk cId="594020395" sldId="280"/>
            <ac:graphicFrameMk id="169" creationId="{DCD6E7DD-B679-A03A-A33C-F959FD6128F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20.162" v="16949"/>
          <ac:graphicFrameMkLst>
            <pc:docMk/>
            <pc:sldMk cId="594020395" sldId="280"/>
            <ac:graphicFrameMk id="171" creationId="{6DD5058B-481B-ED27-BC29-C652F96F349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22.855" v="17107"/>
          <ac:graphicFrameMkLst>
            <pc:docMk/>
            <pc:sldMk cId="594020395" sldId="280"/>
            <ac:graphicFrameMk id="173" creationId="{DBB16C87-67BF-396C-2FAA-E76CA3E4D3F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6:57.189" v="17440"/>
          <ac:graphicFrameMkLst>
            <pc:docMk/>
            <pc:sldMk cId="594020395" sldId="280"/>
            <ac:graphicFrameMk id="175" creationId="{7B537A09-FDF8-FAC9-569D-25AD8C53D469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09:16:27.924" v="17287"/>
          <ac:graphicFrameMkLst>
            <pc:docMk/>
            <pc:sldMk cId="594020395" sldId="280"/>
            <ac:graphicFrameMk id="177" creationId="{E4DB16BD-CB37-A6B8-D517-7A316B258F8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10.696" v="17767"/>
          <ac:graphicFrameMkLst>
            <pc:docMk/>
            <pc:sldMk cId="594020395" sldId="280"/>
            <ac:graphicFrameMk id="179" creationId="{6EF46033-2F0D-B0DA-124B-D13790A8190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7:12.026" v="17882"/>
          <ac:graphicFrameMkLst>
            <pc:docMk/>
            <pc:sldMk cId="594020395" sldId="280"/>
            <ac:graphicFrameMk id="186" creationId="{49352FB7-559F-0648-014B-769FF51B5B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6:02.707" v="30990"/>
          <ac:graphicFrameMkLst>
            <pc:docMk/>
            <pc:sldMk cId="594020395" sldId="280"/>
            <ac:graphicFrameMk id="188" creationId="{278139D3-6CE8-2DA6-CF73-8F1934249C1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3.520" v="11153"/>
          <ac:graphicFrameMkLst>
            <pc:docMk/>
            <pc:sldMk cId="594020395" sldId="280"/>
            <ac:graphicFrameMk id="225" creationId="{26802ECE-0628-DE43-4EFF-F72F2601403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35.141" v="11245"/>
          <ac:graphicFrameMkLst>
            <pc:docMk/>
            <pc:sldMk cId="594020395" sldId="280"/>
            <ac:graphicFrameMk id="227" creationId="{776B0521-E341-A9CC-6E55-3D549C680B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44.522" v="11339"/>
          <ac:graphicFrameMkLst>
            <pc:docMk/>
            <pc:sldMk cId="594020395" sldId="280"/>
            <ac:graphicFrameMk id="229" creationId="{86F4D581-59F4-E2E0-6F24-B7E9412EB9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47.065" v="11423"/>
          <ac:graphicFrameMkLst>
            <pc:docMk/>
            <pc:sldMk cId="594020395" sldId="280"/>
            <ac:graphicFrameMk id="231" creationId="{97A71E5B-A1D0-31CE-C21A-21DB4A40DBC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0.644" v="11523"/>
          <ac:graphicFrameMkLst>
            <pc:docMk/>
            <pc:sldMk cId="594020395" sldId="280"/>
            <ac:graphicFrameMk id="233" creationId="{4CE33D69-27A4-0422-94D5-DA56967B46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3.035" v="11651"/>
          <ac:graphicFrameMkLst>
            <pc:docMk/>
            <pc:sldMk cId="594020395" sldId="280"/>
            <ac:graphicFrameMk id="235" creationId="{0F62C9B9-E487-872A-A302-3EDEC482BE0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4.741" v="11744"/>
          <ac:graphicFrameMkLst>
            <pc:docMk/>
            <pc:sldMk cId="594020395" sldId="280"/>
            <ac:graphicFrameMk id="238" creationId="{B02687FB-C87B-A128-2796-1966C948BCF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2:56.523" v="11824"/>
          <ac:graphicFrameMkLst>
            <pc:docMk/>
            <pc:sldMk cId="594020395" sldId="280"/>
            <ac:graphicFrameMk id="240" creationId="{9ACE674D-70F9-9E55-AC5C-EB26A7AA563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01.650" v="11904"/>
          <ac:graphicFrameMkLst>
            <pc:docMk/>
            <pc:sldMk cId="594020395" sldId="280"/>
            <ac:graphicFrameMk id="242" creationId="{F04D1C49-F056-1585-2964-401B119969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05.960" v="11998"/>
          <ac:graphicFrameMkLst>
            <pc:docMk/>
            <pc:sldMk cId="594020395" sldId="280"/>
            <ac:graphicFrameMk id="244" creationId="{9B6BE294-E793-0BD2-FDA9-DE725ECB902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15.771" v="12078"/>
          <ac:graphicFrameMkLst>
            <pc:docMk/>
            <pc:sldMk cId="594020395" sldId="280"/>
            <ac:graphicFrameMk id="246" creationId="{B1D91329-F6F8-9635-9A28-BB8B5F243F9A}"/>
          </ac:graphicFrameMkLst>
        </pc:graphicFrameChg>
        <pc:graphicFrameChg chg="del">
          <ac:chgData name="Oğuz Öztekin" userId="33c0df0f-d5fe-4bda-8f43-141ad7af67e3" providerId="ADAL" clId="{48B824AD-1B2A-47A8-8D92-6FE6E622A650}" dt="2024-12-16T09:11:58.936" v="9784"/>
          <ac:graphicFrameMkLst>
            <pc:docMk/>
            <pc:sldMk cId="594020395" sldId="280"/>
            <ac:graphicFrameMk id="248" creationId="{EE42CB26-C10E-C18F-5188-9169007068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19.418" v="12193"/>
          <ac:graphicFrameMkLst>
            <pc:docMk/>
            <pc:sldMk cId="594020395" sldId="280"/>
            <ac:graphicFrameMk id="249" creationId="{02AEBB6C-439E-6C1A-B125-C2829422BFC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22.529" v="12293"/>
          <ac:graphicFrameMkLst>
            <pc:docMk/>
            <pc:sldMk cId="594020395" sldId="280"/>
            <ac:graphicFrameMk id="252" creationId="{6F42BD26-7164-4EE4-35BC-F4B5FC03DF5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09:13:49.752" v="12667"/>
          <ac:graphicFrameMkLst>
            <pc:docMk/>
            <pc:sldMk cId="594020395" sldId="280"/>
            <ac:graphicFrameMk id="254" creationId="{B0425EDE-BD60-7A75-FD7D-5AD49F8AD61B}"/>
          </ac:graphicFrameMkLst>
        </pc:graphicFrameChg>
        <pc:cxnChg chg="add del mod ord">
          <ac:chgData name="Oğuz Öztekin" userId="33c0df0f-d5fe-4bda-8f43-141ad7af67e3" providerId="ADAL" clId="{48B824AD-1B2A-47A8-8D92-6FE6E622A650}" dt="2024-12-16T09:15:50.228" v="15474"/>
          <ac:cxnSpMkLst>
            <pc:docMk/>
            <pc:sldMk cId="594020395" sldId="280"/>
            <ac:cxnSpMk id="39" creationId="{9DF10AA0-8691-4B3F-9718-D1B969A16231}"/>
          </ac:cxnSpMkLst>
        </pc:cxnChg>
        <pc:cxnChg chg="del mod ord">
          <ac:chgData name="Oğuz Öztekin" userId="33c0df0f-d5fe-4bda-8f43-141ad7af67e3" providerId="ADAL" clId="{48B824AD-1B2A-47A8-8D92-6FE6E622A650}" dt="2024-12-16T09:13:36.786" v="12467"/>
          <ac:cxnSpMkLst>
            <pc:docMk/>
            <pc:sldMk cId="594020395" sldId="280"/>
            <ac:cxnSpMk id="42" creationId="{3B15E158-7370-44CA-6CB6-4CAADF41DB0A}"/>
          </ac:cxnSpMkLst>
        </pc:cxnChg>
        <pc:cxnChg chg="add mod ord">
          <ac:chgData name="Oğuz Öztekin" userId="33c0df0f-d5fe-4bda-8f43-141ad7af67e3" providerId="ADAL" clId="{48B824AD-1B2A-47A8-8D92-6FE6E622A650}" dt="2024-12-16T10:56:10.119" v="31242"/>
          <ac:cxnSpMkLst>
            <pc:docMk/>
            <pc:sldMk cId="594020395" sldId="280"/>
            <ac:cxnSpMk id="53" creationId="{2875D970-3812-1F62-D9C4-AAC585971062}"/>
          </ac:cxnSpMkLst>
        </pc:cxnChg>
        <pc:cxnChg chg="add mod ord">
          <ac:chgData name="Oğuz Öztekin" userId="33c0df0f-d5fe-4bda-8f43-141ad7af67e3" providerId="ADAL" clId="{48B824AD-1B2A-47A8-8D92-6FE6E622A650}" dt="2024-12-16T10:56:10.119" v="31242"/>
          <ac:cxnSpMkLst>
            <pc:docMk/>
            <pc:sldMk cId="594020395" sldId="280"/>
            <ac:cxnSpMk id="73" creationId="{8C5FA7D5-0E7B-A16C-9F4E-1ED6241A3919}"/>
          </ac:cxnSpMkLst>
        </pc:cxnChg>
        <pc:cxnChg chg="add mod ord">
          <ac:chgData name="Oğuz Öztekin" userId="33c0df0f-d5fe-4bda-8f43-141ad7af67e3" providerId="ADAL" clId="{48B824AD-1B2A-47A8-8D92-6FE6E622A650}" dt="2024-12-16T10:56:10.119" v="31242"/>
          <ac:cxnSpMkLst>
            <pc:docMk/>
            <pc:sldMk cId="594020395" sldId="280"/>
            <ac:cxnSpMk id="74" creationId="{49375BB7-EDCC-42B2-18E8-C1FF93477826}"/>
          </ac:cxnSpMkLst>
        </pc:cxnChg>
        <pc:cxnChg chg="add mod ord">
          <ac:chgData name="Oğuz Öztekin" userId="33c0df0f-d5fe-4bda-8f43-141ad7af67e3" providerId="ADAL" clId="{48B824AD-1B2A-47A8-8D92-6FE6E622A650}" dt="2024-12-16T10:56:10.119" v="31242"/>
          <ac:cxnSpMkLst>
            <pc:docMk/>
            <pc:sldMk cId="594020395" sldId="280"/>
            <ac:cxnSpMk id="75" creationId="{07D80620-E2C9-0154-66BB-DEA9F949D7A3}"/>
          </ac:cxnSpMkLst>
        </pc:cxnChg>
        <pc:cxnChg chg="del">
          <ac:chgData name="Oğuz Öztekin" userId="33c0df0f-d5fe-4bda-8f43-141ad7af67e3" providerId="ADAL" clId="{48B824AD-1B2A-47A8-8D92-6FE6E622A650}" dt="2024-12-16T09:11:58.820" v="9642"/>
          <ac:cxnSpMkLst>
            <pc:docMk/>
            <pc:sldMk cId="594020395" sldId="280"/>
            <ac:cxnSpMk id="211" creationId="{5B28F6FD-8223-9192-66E4-D9EAF3DDE415}"/>
          </ac:cxnSpMkLst>
        </pc:cxnChg>
        <pc:cxnChg chg="del">
          <ac:chgData name="Oğuz Öztekin" userId="33c0df0f-d5fe-4bda-8f43-141ad7af67e3" providerId="ADAL" clId="{48B824AD-1B2A-47A8-8D92-6FE6E622A650}" dt="2024-12-16T09:11:58.823" v="9645"/>
          <ac:cxnSpMkLst>
            <pc:docMk/>
            <pc:sldMk cId="594020395" sldId="280"/>
            <ac:cxnSpMk id="212" creationId="{C3885B0F-52C6-0DD7-A81E-F6740FABA76A}"/>
          </ac:cxnSpMkLst>
        </pc:cxnChg>
      </pc:sldChg>
      <pc:sldChg chg="del">
        <pc:chgData name="Oğuz Öztekin" userId="33c0df0f-d5fe-4bda-8f43-141ad7af67e3" providerId="ADAL" clId="{48B824AD-1B2A-47A8-8D92-6FE6E622A650}" dt="2024-12-16T09:07:38.450" v="34" actId="2696"/>
        <pc:sldMkLst>
          <pc:docMk/>
          <pc:sldMk cId="2634187742" sldId="280"/>
        </pc:sldMkLst>
      </pc:sldChg>
      <pc:sldChg chg="del">
        <pc:chgData name="Oğuz Öztekin" userId="33c0df0f-d5fe-4bda-8f43-141ad7af67e3" providerId="ADAL" clId="{48B824AD-1B2A-47A8-8D92-6FE6E622A650}" dt="2024-12-16T09:07:42.439" v="35" actId="2696"/>
        <pc:sldMkLst>
          <pc:docMk/>
          <pc:sldMk cId="221109731" sldId="281"/>
        </pc:sldMkLst>
      </pc:sldChg>
      <pc:sldChg chg="addSp delSp modSp add mod">
        <pc:chgData name="Oğuz Öztekin" userId="33c0df0f-d5fe-4bda-8f43-141ad7af67e3" providerId="ADAL" clId="{48B824AD-1B2A-47A8-8D92-6FE6E622A650}" dt="2024-12-16T11:01:17.232" v="32390"/>
        <pc:sldMkLst>
          <pc:docMk/>
          <pc:sldMk cId="515243903" sldId="281"/>
        </pc:sldMkLst>
        <pc:spChg chg="mod ord">
          <ac:chgData name="Oğuz Öztekin" userId="33c0df0f-d5fe-4bda-8f43-141ad7af67e3" providerId="ADAL" clId="{48B824AD-1B2A-47A8-8D92-6FE6E622A650}" dt="2024-12-16T11:01:17.217" v="32367" actId="948"/>
          <ac:spMkLst>
            <pc:docMk/>
            <pc:sldMk cId="515243903" sldId="281"/>
            <ac:spMk id="2" creationId="{68C1AABC-6CC5-02E9-F3DD-F4BFD466774C}"/>
          </ac:spMkLst>
        </pc:spChg>
        <pc:spChg chg="add del mod modVis">
          <ac:chgData name="Oğuz Öztekin" userId="33c0df0f-d5fe-4bda-8f43-141ad7af67e3" providerId="ADAL" clId="{48B824AD-1B2A-47A8-8D92-6FE6E622A650}" dt="2024-12-16T10:50:39.704" v="26304"/>
          <ac:spMkLst>
            <pc:docMk/>
            <pc:sldMk cId="515243903" sldId="281"/>
            <ac:spMk id="4" creationId="{D88DB25F-30FF-83E6-2FB9-A1131DFC3D6A}"/>
          </ac:spMkLst>
        </pc:spChg>
        <pc:spChg chg="add mod">
          <ac:chgData name="Oğuz Öztekin" userId="33c0df0f-d5fe-4bda-8f43-141ad7af67e3" providerId="ADAL" clId="{48B824AD-1B2A-47A8-8D92-6FE6E622A650}" dt="2024-12-16T11:00:48.641" v="32202"/>
          <ac:spMkLst>
            <pc:docMk/>
            <pc:sldMk cId="515243903" sldId="281"/>
            <ac:spMk id="10" creationId="{A7665FFF-CB0F-D826-8274-2313E34C3E72}"/>
          </ac:spMkLst>
        </pc:spChg>
        <pc:spChg chg="add mod">
          <ac:chgData name="Oğuz Öztekin" userId="33c0df0f-d5fe-4bda-8f43-141ad7af67e3" providerId="ADAL" clId="{48B824AD-1B2A-47A8-8D92-6FE6E622A650}" dt="2024-12-16T11:00:48.642" v="32205"/>
          <ac:spMkLst>
            <pc:docMk/>
            <pc:sldMk cId="515243903" sldId="281"/>
            <ac:spMk id="12" creationId="{D703991E-76BA-0BD3-C28D-83BFD21E90C1}"/>
          </ac:spMkLst>
        </pc:spChg>
        <pc:spChg chg="add mod">
          <ac:chgData name="Oğuz Öztekin" userId="33c0df0f-d5fe-4bda-8f43-141ad7af67e3" providerId="ADAL" clId="{48B824AD-1B2A-47A8-8D92-6FE6E622A650}" dt="2024-12-16T11:00:48.642" v="32206"/>
          <ac:spMkLst>
            <pc:docMk/>
            <pc:sldMk cId="515243903" sldId="281"/>
            <ac:spMk id="13" creationId="{86D23D93-1A2E-C2AD-71BF-5B05361FA0A3}"/>
          </ac:spMkLst>
        </pc:spChg>
        <pc:spChg chg="add mod">
          <ac:chgData name="Oğuz Öztekin" userId="33c0df0f-d5fe-4bda-8f43-141ad7af67e3" providerId="ADAL" clId="{48B824AD-1B2A-47A8-8D92-6FE6E622A650}" dt="2024-12-16T11:00:48.643" v="32207"/>
          <ac:spMkLst>
            <pc:docMk/>
            <pc:sldMk cId="515243903" sldId="281"/>
            <ac:spMk id="14" creationId="{A9797DBF-984A-4D62-CB84-094F31E5CB8D}"/>
          </ac:spMkLst>
        </pc:spChg>
        <pc:spChg chg="add mod">
          <ac:chgData name="Oğuz Öztekin" userId="33c0df0f-d5fe-4bda-8f43-141ad7af67e3" providerId="ADAL" clId="{48B824AD-1B2A-47A8-8D92-6FE6E622A650}" dt="2024-12-16T11:00:48.643" v="32208"/>
          <ac:spMkLst>
            <pc:docMk/>
            <pc:sldMk cId="515243903" sldId="281"/>
            <ac:spMk id="15" creationId="{D66E255B-F3F0-9F81-C4EC-FC4C8C158940}"/>
          </ac:spMkLst>
        </pc:spChg>
        <pc:spChg chg="add mod">
          <ac:chgData name="Oğuz Öztekin" userId="33c0df0f-d5fe-4bda-8f43-141ad7af67e3" providerId="ADAL" clId="{48B824AD-1B2A-47A8-8D92-6FE6E622A650}" dt="2024-12-16T11:00:48.643" v="32209"/>
          <ac:spMkLst>
            <pc:docMk/>
            <pc:sldMk cId="515243903" sldId="281"/>
            <ac:spMk id="16" creationId="{919A1B5B-61CE-47B0-3793-6CECC6B83F6C}"/>
          </ac:spMkLst>
        </pc:spChg>
        <pc:spChg chg="add mod">
          <ac:chgData name="Oğuz Öztekin" userId="33c0df0f-d5fe-4bda-8f43-141ad7af67e3" providerId="ADAL" clId="{48B824AD-1B2A-47A8-8D92-6FE6E622A650}" dt="2024-12-16T11:00:48.643" v="32210"/>
          <ac:spMkLst>
            <pc:docMk/>
            <pc:sldMk cId="515243903" sldId="281"/>
            <ac:spMk id="17" creationId="{E5AC2EB3-1B3F-2C00-C036-5AAAA817EC9F}"/>
          </ac:spMkLst>
        </pc:spChg>
        <pc:spChg chg="add mod">
          <ac:chgData name="Oğuz Öztekin" userId="33c0df0f-d5fe-4bda-8f43-141ad7af67e3" providerId="ADAL" clId="{48B824AD-1B2A-47A8-8D92-6FE6E622A650}" dt="2024-12-16T11:00:48.644" v="32211"/>
          <ac:spMkLst>
            <pc:docMk/>
            <pc:sldMk cId="515243903" sldId="281"/>
            <ac:spMk id="18" creationId="{40FB4F58-59F9-6476-C62F-1FAB78D9E1BC}"/>
          </ac:spMkLst>
        </pc:spChg>
        <pc:spChg chg="add mod">
          <ac:chgData name="Oğuz Öztekin" userId="33c0df0f-d5fe-4bda-8f43-141ad7af67e3" providerId="ADAL" clId="{48B824AD-1B2A-47A8-8D92-6FE6E622A650}" dt="2024-12-16T11:00:48.644" v="32212"/>
          <ac:spMkLst>
            <pc:docMk/>
            <pc:sldMk cId="515243903" sldId="281"/>
            <ac:spMk id="19" creationId="{7EDF7D6A-323B-07E5-878B-2E9D0023DF2B}"/>
          </ac:spMkLst>
        </pc:spChg>
        <pc:spChg chg="add mod">
          <ac:chgData name="Oğuz Öztekin" userId="33c0df0f-d5fe-4bda-8f43-141ad7af67e3" providerId="ADAL" clId="{48B824AD-1B2A-47A8-8D92-6FE6E622A650}" dt="2024-12-16T11:00:48.644" v="32213"/>
          <ac:spMkLst>
            <pc:docMk/>
            <pc:sldMk cId="515243903" sldId="281"/>
            <ac:spMk id="20" creationId="{1FB323DD-5B43-6402-CADA-089F87A996F9}"/>
          </ac:spMkLst>
        </pc:spChg>
        <pc:spChg chg="add mod">
          <ac:chgData name="Oğuz Öztekin" userId="33c0df0f-d5fe-4bda-8f43-141ad7af67e3" providerId="ADAL" clId="{48B824AD-1B2A-47A8-8D92-6FE6E622A650}" dt="2024-12-16T11:00:48.645" v="32214"/>
          <ac:spMkLst>
            <pc:docMk/>
            <pc:sldMk cId="515243903" sldId="281"/>
            <ac:spMk id="21" creationId="{2FCD7163-CB20-5ED9-3492-6AB049C86535}"/>
          </ac:spMkLst>
        </pc:spChg>
        <pc:spChg chg="add mod">
          <ac:chgData name="Oğuz Öztekin" userId="33c0df0f-d5fe-4bda-8f43-141ad7af67e3" providerId="ADAL" clId="{48B824AD-1B2A-47A8-8D92-6FE6E622A650}" dt="2024-12-16T11:00:48.645" v="32215"/>
          <ac:spMkLst>
            <pc:docMk/>
            <pc:sldMk cId="515243903" sldId="281"/>
            <ac:spMk id="22" creationId="{0313BAE1-796D-B74D-B914-FF1A48EFFF69}"/>
          </ac:spMkLst>
        </pc:spChg>
        <pc:spChg chg="add mod ord">
          <ac:chgData name="Oğuz Öztekin" userId="33c0df0f-d5fe-4bda-8f43-141ad7af67e3" providerId="ADAL" clId="{48B824AD-1B2A-47A8-8D92-6FE6E622A650}" dt="2024-12-16T11:00:48.646" v="32217"/>
          <ac:spMkLst>
            <pc:docMk/>
            <pc:sldMk cId="515243903" sldId="281"/>
            <ac:spMk id="23" creationId="{76208E3D-24B5-F93B-F4E2-EE44827629A9}"/>
          </ac:spMkLst>
        </pc:spChg>
        <pc:spChg chg="add del mod modVis">
          <ac:chgData name="Oğuz Öztekin" userId="33c0df0f-d5fe-4bda-8f43-141ad7af67e3" providerId="ADAL" clId="{48B824AD-1B2A-47A8-8D92-6FE6E622A650}" dt="2024-12-16T10:50:45.816" v="26734"/>
          <ac:spMkLst>
            <pc:docMk/>
            <pc:sldMk cId="515243903" sldId="281"/>
            <ac:spMk id="24" creationId="{01AC3A66-78E2-5CAD-EF70-2DF47042B8B0}"/>
          </ac:spMkLst>
        </pc:spChg>
        <pc:spChg chg="add del mod modVis">
          <ac:chgData name="Oğuz Öztekin" userId="33c0df0f-d5fe-4bda-8f43-141ad7af67e3" providerId="ADAL" clId="{48B824AD-1B2A-47A8-8D92-6FE6E622A650}" dt="2024-12-16T10:50:48.663" v="26895"/>
          <ac:spMkLst>
            <pc:docMk/>
            <pc:sldMk cId="515243903" sldId="281"/>
            <ac:spMk id="26" creationId="{6F67A65E-6EA9-16D0-0AF1-C120D4EC5E50}"/>
          </ac:spMkLst>
        </pc:spChg>
        <pc:spChg chg="add del mod modVis">
          <ac:chgData name="Oğuz Öztekin" userId="33c0df0f-d5fe-4bda-8f43-141ad7af67e3" providerId="ADAL" clId="{48B824AD-1B2A-47A8-8D92-6FE6E622A650}" dt="2024-12-16T10:50:51.201" v="27050"/>
          <ac:spMkLst>
            <pc:docMk/>
            <pc:sldMk cId="515243903" sldId="281"/>
            <ac:spMk id="28" creationId="{F09469B2-B570-00BC-D3D9-A8682FA8A25E}"/>
          </ac:spMkLst>
        </pc:spChg>
        <pc:spChg chg="add del mod modVis">
          <ac:chgData name="Oğuz Öztekin" userId="33c0df0f-d5fe-4bda-8f43-141ad7af67e3" providerId="ADAL" clId="{48B824AD-1B2A-47A8-8D92-6FE6E622A650}" dt="2024-12-16T10:50:52.182" v="27205"/>
          <ac:spMkLst>
            <pc:docMk/>
            <pc:sldMk cId="515243903" sldId="281"/>
            <ac:spMk id="30" creationId="{11D95371-6523-D014-DC76-459F28257EAC}"/>
          </ac:spMkLst>
        </pc:spChg>
        <pc:spChg chg="add del mod modVis">
          <ac:chgData name="Oğuz Öztekin" userId="33c0df0f-d5fe-4bda-8f43-141ad7af67e3" providerId="ADAL" clId="{48B824AD-1B2A-47A8-8D92-6FE6E622A650}" dt="2024-12-16T10:50:53.521" v="27360"/>
          <ac:spMkLst>
            <pc:docMk/>
            <pc:sldMk cId="515243903" sldId="281"/>
            <ac:spMk id="32" creationId="{E8D22426-1B3A-6EF8-A631-7FCCE1DF700A}"/>
          </ac:spMkLst>
        </pc:spChg>
        <pc:spChg chg="add del mod modVis">
          <ac:chgData name="Oğuz Öztekin" userId="33c0df0f-d5fe-4bda-8f43-141ad7af67e3" providerId="ADAL" clId="{48B824AD-1B2A-47A8-8D92-6FE6E622A650}" dt="2024-12-16T10:50:58.959" v="27515"/>
          <ac:spMkLst>
            <pc:docMk/>
            <pc:sldMk cId="515243903" sldId="281"/>
            <ac:spMk id="34" creationId="{0F780E2B-1EC9-62BF-5F54-95A0C0FD87A2}"/>
          </ac:spMkLst>
        </pc:spChg>
        <pc:spChg chg="mod">
          <ac:chgData name="Oğuz Öztekin" userId="33c0df0f-d5fe-4bda-8f43-141ad7af67e3" providerId="ADAL" clId="{48B824AD-1B2A-47A8-8D92-6FE6E622A650}" dt="2024-12-16T11:00:48.636" v="32181"/>
          <ac:spMkLst>
            <pc:docMk/>
            <pc:sldMk cId="515243903" sldId="281"/>
            <ac:spMk id="35" creationId="{FA2D5528-DEEF-B2C1-6E84-9779BD3A847E}"/>
          </ac:spMkLst>
        </pc:spChg>
        <pc:spChg chg="mod">
          <ac:chgData name="Oğuz Öztekin" userId="33c0df0f-d5fe-4bda-8f43-141ad7af67e3" providerId="ADAL" clId="{48B824AD-1B2A-47A8-8D92-6FE6E622A650}" dt="2024-12-16T11:00:48.636" v="32182"/>
          <ac:spMkLst>
            <pc:docMk/>
            <pc:sldMk cId="515243903" sldId="281"/>
            <ac:spMk id="36" creationId="{6C58AB59-612A-7359-6DC7-B2BC85FBD01B}"/>
          </ac:spMkLst>
        </pc:spChg>
        <pc:spChg chg="mod">
          <ac:chgData name="Oğuz Öztekin" userId="33c0df0f-d5fe-4bda-8f43-141ad7af67e3" providerId="ADAL" clId="{48B824AD-1B2A-47A8-8D92-6FE6E622A650}" dt="2024-12-16T11:00:48.637" v="32183"/>
          <ac:spMkLst>
            <pc:docMk/>
            <pc:sldMk cId="515243903" sldId="281"/>
            <ac:spMk id="37" creationId="{F9F50942-6E48-65F3-53A8-70AB3D64670C}"/>
          </ac:spMkLst>
        </pc:spChg>
        <pc:spChg chg="add del mod modVis">
          <ac:chgData name="Oğuz Öztekin" userId="33c0df0f-d5fe-4bda-8f43-141ad7af67e3" providerId="ADAL" clId="{48B824AD-1B2A-47A8-8D92-6FE6E622A650}" dt="2024-12-16T10:51:03.589" v="27719"/>
          <ac:spMkLst>
            <pc:docMk/>
            <pc:sldMk cId="515243903" sldId="281"/>
            <ac:spMk id="39" creationId="{3C6E2187-6472-FDB0-1199-580741E63AE4}"/>
          </ac:spMkLst>
        </pc:spChg>
        <pc:spChg chg="add del mod modVis">
          <ac:chgData name="Oğuz Öztekin" userId="33c0df0f-d5fe-4bda-8f43-141ad7af67e3" providerId="ADAL" clId="{48B824AD-1B2A-47A8-8D92-6FE6E622A650}" dt="2024-12-16T10:51:06.095" v="27860"/>
          <ac:spMkLst>
            <pc:docMk/>
            <pc:sldMk cId="515243903" sldId="281"/>
            <ac:spMk id="41" creationId="{4B545C78-5312-84D7-A767-4B5A4964E1FA}"/>
          </ac:spMkLst>
        </pc:spChg>
        <pc:spChg chg="add del mod modVis">
          <ac:chgData name="Oğuz Öztekin" userId="33c0df0f-d5fe-4bda-8f43-141ad7af67e3" providerId="ADAL" clId="{48B824AD-1B2A-47A8-8D92-6FE6E622A650}" dt="2024-12-16T10:51:29.948" v="28031"/>
          <ac:spMkLst>
            <pc:docMk/>
            <pc:sldMk cId="515243903" sldId="281"/>
            <ac:spMk id="43" creationId="{8B38F31D-6F23-C786-E858-645DD24F07BE}"/>
          </ac:spMkLst>
        </pc:spChg>
        <pc:spChg chg="add del mod modVis">
          <ac:chgData name="Oğuz Öztekin" userId="33c0df0f-d5fe-4bda-8f43-141ad7af67e3" providerId="ADAL" clId="{48B824AD-1B2A-47A8-8D92-6FE6E622A650}" dt="2024-12-16T10:51:33.117" v="28186"/>
          <ac:spMkLst>
            <pc:docMk/>
            <pc:sldMk cId="515243903" sldId="281"/>
            <ac:spMk id="45" creationId="{64123747-F2EA-6F91-530B-4CDBB6A1BB28}"/>
          </ac:spMkLst>
        </pc:spChg>
        <pc:spChg chg="add del mod modVis">
          <ac:chgData name="Oğuz Öztekin" userId="33c0df0f-d5fe-4bda-8f43-141ad7af67e3" providerId="ADAL" clId="{48B824AD-1B2A-47A8-8D92-6FE6E622A650}" dt="2024-12-16T10:51:36.135" v="28357"/>
          <ac:spMkLst>
            <pc:docMk/>
            <pc:sldMk cId="515243903" sldId="281"/>
            <ac:spMk id="47" creationId="{2385A7E7-83A1-D50E-7861-C4FECEB58705}"/>
          </ac:spMkLst>
        </pc:spChg>
        <pc:spChg chg="add del mod modVis">
          <ac:chgData name="Oğuz Öztekin" userId="33c0df0f-d5fe-4bda-8f43-141ad7af67e3" providerId="ADAL" clId="{48B824AD-1B2A-47A8-8D92-6FE6E622A650}" dt="2024-12-16T10:51:49.613" v="28505"/>
          <ac:spMkLst>
            <pc:docMk/>
            <pc:sldMk cId="515243903" sldId="281"/>
            <ac:spMk id="49" creationId="{BB4E0DC9-464D-2971-7719-81B726E5E9E6}"/>
          </ac:spMkLst>
        </pc:spChg>
        <pc:spChg chg="add del mod">
          <ac:chgData name="Oğuz Öztekin" userId="33c0df0f-d5fe-4bda-8f43-141ad7af67e3" providerId="ADAL" clId="{48B824AD-1B2A-47A8-8D92-6FE6E622A650}" dt="2024-12-16T11:00:48.639" v="32191"/>
          <ac:spMkLst>
            <pc:docMk/>
            <pc:sldMk cId="515243903" sldId="281"/>
            <ac:spMk id="51" creationId="{E829F8D0-B922-9926-7BF3-B89D3B2A7843}"/>
          </ac:spMkLst>
        </pc:spChg>
        <pc:spChg chg="add del mod">
          <ac:chgData name="Oğuz Öztekin" userId="33c0df0f-d5fe-4bda-8f43-141ad7af67e3" providerId="ADAL" clId="{48B824AD-1B2A-47A8-8D92-6FE6E622A650}" dt="2024-12-16T11:00:48.635" v="32178"/>
          <ac:spMkLst>
            <pc:docMk/>
            <pc:sldMk cId="515243903" sldId="281"/>
            <ac:spMk id="52" creationId="{963CB4EA-6FD1-6595-17B5-AD6C0AF37502}"/>
          </ac:spMkLst>
        </pc:spChg>
        <pc:spChg chg="add del mod modVis">
          <ac:chgData name="Oğuz Öztekin" userId="33c0df0f-d5fe-4bda-8f43-141ad7af67e3" providerId="ADAL" clId="{48B824AD-1B2A-47A8-8D92-6FE6E622A650}" dt="2024-12-16T10:52:02.166" v="28694"/>
          <ac:spMkLst>
            <pc:docMk/>
            <pc:sldMk cId="515243903" sldId="281"/>
            <ac:spMk id="54" creationId="{512ADE4B-EE6B-2709-75FE-0F6D110A97A5}"/>
          </ac:spMkLst>
        </pc:spChg>
        <pc:spChg chg="add del mod modVis">
          <ac:chgData name="Oğuz Öztekin" userId="33c0df0f-d5fe-4bda-8f43-141ad7af67e3" providerId="ADAL" clId="{48B824AD-1B2A-47A8-8D92-6FE6E622A650}" dt="2024-12-16T10:52:04.733" v="28802"/>
          <ac:spMkLst>
            <pc:docMk/>
            <pc:sldMk cId="515243903" sldId="281"/>
            <ac:spMk id="56" creationId="{17D3E960-3F76-0A09-B160-1E862EBBC0AB}"/>
          </ac:spMkLst>
        </pc:spChg>
        <pc:spChg chg="add del mod modVis">
          <ac:chgData name="Oğuz Öztekin" userId="33c0df0f-d5fe-4bda-8f43-141ad7af67e3" providerId="ADAL" clId="{48B824AD-1B2A-47A8-8D92-6FE6E622A650}" dt="2024-12-16T10:52:25.259" v="28952"/>
          <ac:spMkLst>
            <pc:docMk/>
            <pc:sldMk cId="515243903" sldId="281"/>
            <ac:spMk id="58" creationId="{F1E97495-21F2-9999-BB0A-B073EB5408B8}"/>
          </ac:spMkLst>
        </pc:spChg>
        <pc:spChg chg="add del mod modVis">
          <ac:chgData name="Oğuz Öztekin" userId="33c0df0f-d5fe-4bda-8f43-141ad7af67e3" providerId="ADAL" clId="{48B824AD-1B2A-47A8-8D92-6FE6E622A650}" dt="2024-12-16T10:52:29.861" v="29135"/>
          <ac:spMkLst>
            <pc:docMk/>
            <pc:sldMk cId="515243903" sldId="281"/>
            <ac:spMk id="60" creationId="{D223B8B3-E247-27BA-F1C3-246CC4829262}"/>
          </ac:spMkLst>
        </pc:spChg>
        <pc:spChg chg="add del mod modVis">
          <ac:chgData name="Oğuz Öztekin" userId="33c0df0f-d5fe-4bda-8f43-141ad7af67e3" providerId="ADAL" clId="{48B824AD-1B2A-47A8-8D92-6FE6E622A650}" dt="2024-12-16T10:52:33.915" v="29243"/>
          <ac:spMkLst>
            <pc:docMk/>
            <pc:sldMk cId="515243903" sldId="281"/>
            <ac:spMk id="62" creationId="{5BBFF338-0589-FF4B-4061-DDFD7B50288C}"/>
          </ac:spMkLst>
        </pc:spChg>
        <pc:spChg chg="add del mod modVis">
          <ac:chgData name="Oğuz Öztekin" userId="33c0df0f-d5fe-4bda-8f43-141ad7af67e3" providerId="ADAL" clId="{48B824AD-1B2A-47A8-8D92-6FE6E622A650}" dt="2024-12-16T10:52:38.653" v="29392"/>
          <ac:spMkLst>
            <pc:docMk/>
            <pc:sldMk cId="515243903" sldId="281"/>
            <ac:spMk id="64" creationId="{00C8CAC3-1D6D-F369-66B1-A38D39D04A99}"/>
          </ac:spMkLst>
        </pc:spChg>
        <pc:spChg chg="add del mod modVis">
          <ac:chgData name="Oğuz Öztekin" userId="33c0df0f-d5fe-4bda-8f43-141ad7af67e3" providerId="ADAL" clId="{48B824AD-1B2A-47A8-8D92-6FE6E622A650}" dt="2024-12-16T10:52:43.227" v="29557"/>
          <ac:spMkLst>
            <pc:docMk/>
            <pc:sldMk cId="515243903" sldId="281"/>
            <ac:spMk id="66" creationId="{7A237BCD-AEFE-01AD-9729-C3822304F18B}"/>
          </ac:spMkLst>
        </pc:spChg>
        <pc:spChg chg="add del mod modVis">
          <ac:chgData name="Oğuz Öztekin" userId="33c0df0f-d5fe-4bda-8f43-141ad7af67e3" providerId="ADAL" clId="{48B824AD-1B2A-47A8-8D92-6FE6E622A650}" dt="2024-12-16T10:52:45.717" v="29947"/>
          <ac:spMkLst>
            <pc:docMk/>
            <pc:sldMk cId="515243903" sldId="281"/>
            <ac:spMk id="68" creationId="{8AAAB500-A839-60BA-20BD-95FA2BEFB948}"/>
          </ac:spMkLst>
        </pc:spChg>
        <pc:spChg chg="add del mod">
          <ac:chgData name="Oğuz Öztekin" userId="33c0df0f-d5fe-4bda-8f43-141ad7af67e3" providerId="ADAL" clId="{48B824AD-1B2A-47A8-8D92-6FE6E622A650}" dt="2024-12-16T10:52:48.581" v="30002"/>
          <ac:spMkLst>
            <pc:docMk/>
            <pc:sldMk cId="515243903" sldId="281"/>
            <ac:spMk id="69" creationId="{81611558-57D1-2C8A-30A9-E597684B3511}"/>
          </ac:spMkLst>
        </pc:spChg>
        <pc:spChg chg="add del mod">
          <ac:chgData name="Oğuz Öztekin" userId="33c0df0f-d5fe-4bda-8f43-141ad7af67e3" providerId="ADAL" clId="{48B824AD-1B2A-47A8-8D92-6FE6E622A650}" dt="2024-12-16T10:52:48.582" v="30003"/>
          <ac:spMkLst>
            <pc:docMk/>
            <pc:sldMk cId="515243903" sldId="281"/>
            <ac:spMk id="70" creationId="{50067BAF-5210-DE94-BADE-2F311D194BFE}"/>
          </ac:spMkLst>
        </pc:spChg>
        <pc:spChg chg="add del mod">
          <ac:chgData name="Oğuz Öztekin" userId="33c0df0f-d5fe-4bda-8f43-141ad7af67e3" providerId="ADAL" clId="{48B824AD-1B2A-47A8-8D92-6FE6E622A650}" dt="2024-12-16T10:52:48.582" v="30004"/>
          <ac:spMkLst>
            <pc:docMk/>
            <pc:sldMk cId="515243903" sldId="281"/>
            <ac:spMk id="71" creationId="{CCFE0E1B-300E-6975-2C8F-84D1326E0BA7}"/>
          </ac:spMkLst>
        </pc:spChg>
        <pc:spChg chg="mod ord">
          <ac:chgData name="Oğuz Öztekin" userId="33c0df0f-d5fe-4bda-8f43-141ad7af67e3" providerId="ADAL" clId="{48B824AD-1B2A-47A8-8D92-6FE6E622A650}" dt="2024-12-16T11:00:48.640" v="32193"/>
          <ac:spMkLst>
            <pc:docMk/>
            <pc:sldMk cId="515243903" sldId="281"/>
            <ac:spMk id="72" creationId="{47F4AF3A-7808-79F4-BB30-459383D5E01A}"/>
          </ac:spMkLst>
        </pc:spChg>
        <pc:spChg chg="add del mod">
          <ac:chgData name="Oğuz Öztekin" userId="33c0df0f-d5fe-4bda-8f43-141ad7af67e3" providerId="ADAL" clId="{48B824AD-1B2A-47A8-8D92-6FE6E622A650}" dt="2024-12-16T10:52:48.583" v="30005"/>
          <ac:spMkLst>
            <pc:docMk/>
            <pc:sldMk cId="515243903" sldId="281"/>
            <ac:spMk id="76" creationId="{C728BECF-5FA2-60A9-B013-57D161B6F4E6}"/>
          </ac:spMkLst>
        </pc:spChg>
        <pc:spChg chg="add del mod">
          <ac:chgData name="Oğuz Öztekin" userId="33c0df0f-d5fe-4bda-8f43-141ad7af67e3" providerId="ADAL" clId="{48B824AD-1B2A-47A8-8D92-6FE6E622A650}" dt="2024-12-16T10:52:48.583" v="30006"/>
          <ac:spMkLst>
            <pc:docMk/>
            <pc:sldMk cId="515243903" sldId="281"/>
            <ac:spMk id="77" creationId="{2D33059F-6D13-8C2F-38DB-50E7F5E08FC3}"/>
          </ac:spMkLst>
        </pc:spChg>
        <pc:spChg chg="add del mod">
          <ac:chgData name="Oğuz Öztekin" userId="33c0df0f-d5fe-4bda-8f43-141ad7af67e3" providerId="ADAL" clId="{48B824AD-1B2A-47A8-8D92-6FE6E622A650}" dt="2024-12-16T10:52:48.584" v="30007"/>
          <ac:spMkLst>
            <pc:docMk/>
            <pc:sldMk cId="515243903" sldId="281"/>
            <ac:spMk id="78" creationId="{368DE6C8-0192-9286-0AD1-81B81625B6BB}"/>
          </ac:spMkLst>
        </pc:spChg>
        <pc:spChg chg="add del mod modVis">
          <ac:chgData name="Oğuz Öztekin" userId="33c0df0f-d5fe-4bda-8f43-141ad7af67e3" providerId="ADAL" clId="{48B824AD-1B2A-47A8-8D92-6FE6E622A650}" dt="2024-12-16T10:52:48.633" v="30067"/>
          <ac:spMkLst>
            <pc:docMk/>
            <pc:sldMk cId="515243903" sldId="281"/>
            <ac:spMk id="80" creationId="{2290F6A6-526C-5C9E-997F-33518B376DE6}"/>
          </ac:spMkLst>
        </pc:spChg>
        <pc:spChg chg="add del mod modVis">
          <ac:chgData name="Oğuz Öztekin" userId="33c0df0f-d5fe-4bda-8f43-141ad7af67e3" providerId="ADAL" clId="{48B824AD-1B2A-47A8-8D92-6FE6E622A650}" dt="2024-12-16T10:53:12.991" v="30370"/>
          <ac:spMkLst>
            <pc:docMk/>
            <pc:sldMk cId="515243903" sldId="281"/>
            <ac:spMk id="82" creationId="{B0469C3E-04C7-2DB3-D9D2-0BB4ED6935A2}"/>
          </ac:spMkLst>
        </pc:spChg>
        <pc:spChg chg="add del mod modVis">
          <ac:chgData name="Oğuz Öztekin" userId="33c0df0f-d5fe-4bda-8f43-141ad7af67e3" providerId="ADAL" clId="{48B824AD-1B2A-47A8-8D92-6FE6E622A650}" dt="2024-12-16T10:53:44.752" v="30555"/>
          <ac:spMkLst>
            <pc:docMk/>
            <pc:sldMk cId="515243903" sldId="281"/>
            <ac:spMk id="84" creationId="{60E9C204-36B6-3862-1F04-75501F6A0EE0}"/>
          </ac:spMkLst>
        </pc:spChg>
        <pc:spChg chg="mod">
          <ac:chgData name="Oğuz Öztekin" userId="33c0df0f-d5fe-4bda-8f43-141ad7af67e3" providerId="ADAL" clId="{48B824AD-1B2A-47A8-8D92-6FE6E622A650}" dt="2024-12-16T11:00:48.637" v="32184"/>
          <ac:spMkLst>
            <pc:docMk/>
            <pc:sldMk cId="515243903" sldId="281"/>
            <ac:spMk id="86" creationId="{5DB2F648-646E-5E64-2D72-28E258F690BB}"/>
          </ac:spMkLst>
        </pc:spChg>
        <pc:spChg chg="mod">
          <ac:chgData name="Oğuz Öztekin" userId="33c0df0f-d5fe-4bda-8f43-141ad7af67e3" providerId="ADAL" clId="{48B824AD-1B2A-47A8-8D92-6FE6E622A650}" dt="2024-12-16T11:00:48.637" v="32185"/>
          <ac:spMkLst>
            <pc:docMk/>
            <pc:sldMk cId="515243903" sldId="281"/>
            <ac:spMk id="87" creationId="{BC7DD847-AAF7-307F-362A-7587D75E94E9}"/>
          </ac:spMkLst>
        </pc:spChg>
        <pc:spChg chg="mod">
          <ac:chgData name="Oğuz Öztekin" userId="33c0df0f-d5fe-4bda-8f43-141ad7af67e3" providerId="ADAL" clId="{48B824AD-1B2A-47A8-8D92-6FE6E622A650}" dt="2024-12-16T11:00:48.638" v="32186"/>
          <ac:spMkLst>
            <pc:docMk/>
            <pc:sldMk cId="515243903" sldId="281"/>
            <ac:spMk id="88" creationId="{7D35223A-6CFD-4D47-AF31-AC8E6BD6DD9F}"/>
          </ac:spMkLst>
        </pc:spChg>
        <pc:spChg chg="mod">
          <ac:chgData name="Oğuz Öztekin" userId="33c0df0f-d5fe-4bda-8f43-141ad7af67e3" providerId="ADAL" clId="{48B824AD-1B2A-47A8-8D92-6FE6E622A650}" dt="2024-12-16T11:00:48.638" v="32187"/>
          <ac:spMkLst>
            <pc:docMk/>
            <pc:sldMk cId="515243903" sldId="281"/>
            <ac:spMk id="89" creationId="{A667CF5B-4640-ECB4-CA46-0BE16959D8D3}"/>
          </ac:spMkLst>
        </pc:spChg>
        <pc:spChg chg="mod">
          <ac:chgData name="Oğuz Öztekin" userId="33c0df0f-d5fe-4bda-8f43-141ad7af67e3" providerId="ADAL" clId="{48B824AD-1B2A-47A8-8D92-6FE6E622A650}" dt="2024-12-16T11:00:48.638" v="32188"/>
          <ac:spMkLst>
            <pc:docMk/>
            <pc:sldMk cId="515243903" sldId="281"/>
            <ac:spMk id="90" creationId="{16BF7F31-E3E7-52EF-1D77-3505E28AD867}"/>
          </ac:spMkLst>
        </pc:spChg>
        <pc:spChg chg="mod">
          <ac:chgData name="Oğuz Öztekin" userId="33c0df0f-d5fe-4bda-8f43-141ad7af67e3" providerId="ADAL" clId="{48B824AD-1B2A-47A8-8D92-6FE6E622A650}" dt="2024-12-16T11:00:48.639" v="32189"/>
          <ac:spMkLst>
            <pc:docMk/>
            <pc:sldMk cId="515243903" sldId="281"/>
            <ac:spMk id="91" creationId="{5AA8E9E9-8999-81A0-9424-068D977BF374}"/>
          </ac:spMkLst>
        </pc:spChg>
        <pc:spChg chg="mod">
          <ac:chgData name="Oğuz Öztekin" userId="33c0df0f-d5fe-4bda-8f43-141ad7af67e3" providerId="ADAL" clId="{48B824AD-1B2A-47A8-8D92-6FE6E622A650}" dt="2024-12-16T11:00:48.639" v="32190"/>
          <ac:spMkLst>
            <pc:docMk/>
            <pc:sldMk cId="515243903" sldId="281"/>
            <ac:spMk id="92" creationId="{2787DA9C-0DA0-3301-B0C0-67576D5DD97C}"/>
          </ac:spMkLst>
        </pc:spChg>
        <pc:spChg chg="add del mod modVis">
          <ac:chgData name="Oğuz Öztekin" userId="33c0df0f-d5fe-4bda-8f43-141ad7af67e3" providerId="ADAL" clId="{48B824AD-1B2A-47A8-8D92-6FE6E622A650}" dt="2024-12-16T10:53:48.529" v="30735"/>
          <ac:spMkLst>
            <pc:docMk/>
            <pc:sldMk cId="515243903" sldId="281"/>
            <ac:spMk id="93" creationId="{68632F1F-E1E5-B0E2-4EF9-1663A44D1A0D}"/>
          </ac:spMkLst>
        </pc:spChg>
        <pc:spChg chg="add del mod modVis">
          <ac:chgData name="Oğuz Öztekin" userId="33c0df0f-d5fe-4bda-8f43-141ad7af67e3" providerId="ADAL" clId="{48B824AD-1B2A-47A8-8D92-6FE6E622A650}" dt="2024-12-16T10:54:00.182" v="30760"/>
          <ac:spMkLst>
            <pc:docMk/>
            <pc:sldMk cId="515243903" sldId="281"/>
            <ac:spMk id="95" creationId="{7063C094-A931-E119-45D3-C7A72DC2E49D}"/>
          </ac:spMkLst>
        </pc:spChg>
        <pc:spChg chg="add del mod modVis">
          <ac:chgData name="Oğuz Öztekin" userId="33c0df0f-d5fe-4bda-8f43-141ad7af67e3" providerId="ADAL" clId="{48B824AD-1B2A-47A8-8D92-6FE6E622A650}" dt="2024-12-16T10:54:03.700" v="30798"/>
          <ac:spMkLst>
            <pc:docMk/>
            <pc:sldMk cId="515243903" sldId="281"/>
            <ac:spMk id="160" creationId="{706B9B0B-DA46-E60A-0B1E-A8DAB87E6DC0}"/>
          </ac:spMkLst>
        </pc:spChg>
        <pc:spChg chg="add del mod modVis">
          <ac:chgData name="Oğuz Öztekin" userId="33c0df0f-d5fe-4bda-8f43-141ad7af67e3" providerId="ADAL" clId="{48B824AD-1B2A-47A8-8D92-6FE6E622A650}" dt="2024-12-16T10:54:05.506" v="30828"/>
          <ac:spMkLst>
            <pc:docMk/>
            <pc:sldMk cId="515243903" sldId="281"/>
            <ac:spMk id="161" creationId="{565A07FF-01BD-0FA3-D5A5-BD742E8ECC65}"/>
          </ac:spMkLst>
        </pc:spChg>
        <pc:spChg chg="add del mod modVis">
          <ac:chgData name="Oğuz Öztekin" userId="33c0df0f-d5fe-4bda-8f43-141ad7af67e3" providerId="ADAL" clId="{48B824AD-1B2A-47A8-8D92-6FE6E622A650}" dt="2024-12-16T10:54:06.756" v="30856"/>
          <ac:spMkLst>
            <pc:docMk/>
            <pc:sldMk cId="515243903" sldId="281"/>
            <ac:spMk id="162" creationId="{D799F28F-B338-130B-6ADC-9B4B0B935CEA}"/>
          </ac:spMkLst>
        </pc:spChg>
        <pc:spChg chg="add mod ord">
          <ac:chgData name="Oğuz Öztekin" userId="33c0df0f-d5fe-4bda-8f43-141ad7af67e3" providerId="ADAL" clId="{48B824AD-1B2A-47A8-8D92-6FE6E622A650}" dt="2024-12-16T11:00:48.646" v="32219"/>
          <ac:spMkLst>
            <pc:docMk/>
            <pc:sldMk cId="515243903" sldId="281"/>
            <ac:spMk id="163" creationId="{8A484EF9-59CF-D878-C91F-D608ABDBD66E}"/>
          </ac:spMkLst>
        </pc:spChg>
        <pc:spChg chg="add del mod modVis">
          <ac:chgData name="Oğuz Öztekin" userId="33c0df0f-d5fe-4bda-8f43-141ad7af67e3" providerId="ADAL" clId="{48B824AD-1B2A-47A8-8D92-6FE6E622A650}" dt="2024-12-16T11:00:05.130" v="31407"/>
          <ac:spMkLst>
            <pc:docMk/>
            <pc:sldMk cId="515243903" sldId="281"/>
            <ac:spMk id="164" creationId="{8B7A3388-3660-130C-DBD6-401DB0108C4D}"/>
          </ac:spMkLst>
        </pc:spChg>
        <pc:spChg chg="add del mod modVis">
          <ac:chgData name="Oğuz Öztekin" userId="33c0df0f-d5fe-4bda-8f43-141ad7af67e3" providerId="ADAL" clId="{48B824AD-1B2A-47A8-8D92-6FE6E622A650}" dt="2024-12-16T11:00:11.836" v="31586"/>
          <ac:spMkLst>
            <pc:docMk/>
            <pc:sldMk cId="515243903" sldId="281"/>
            <ac:spMk id="166" creationId="{1D22E19C-D4F0-B9F9-7467-6E7E3A3801AB}"/>
          </ac:spMkLst>
        </pc:spChg>
        <pc:spChg chg="add del mod modVis">
          <ac:chgData name="Oğuz Öztekin" userId="33c0df0f-d5fe-4bda-8f43-141ad7af67e3" providerId="ADAL" clId="{48B824AD-1B2A-47A8-8D92-6FE6E622A650}" dt="2024-12-16T11:00:15.228" v="31694"/>
          <ac:spMkLst>
            <pc:docMk/>
            <pc:sldMk cId="515243903" sldId="281"/>
            <ac:spMk id="168" creationId="{101D93C8-9E67-7ADF-D166-6BBBF93F22B7}"/>
          </ac:spMkLst>
        </pc:spChg>
        <pc:spChg chg="add del mod modVis">
          <ac:chgData name="Oğuz Öztekin" userId="33c0df0f-d5fe-4bda-8f43-141ad7af67e3" providerId="ADAL" clId="{48B824AD-1B2A-47A8-8D92-6FE6E622A650}" dt="2024-12-16T11:00:37.530" v="31836"/>
          <ac:spMkLst>
            <pc:docMk/>
            <pc:sldMk cId="515243903" sldId="281"/>
            <ac:spMk id="170" creationId="{204C9FB4-9023-8F64-8945-8CE4A957DBBF}"/>
          </ac:spMkLst>
        </pc:spChg>
        <pc:spChg chg="add del mod modVis">
          <ac:chgData name="Oğuz Öztekin" userId="33c0df0f-d5fe-4bda-8f43-141ad7af67e3" providerId="ADAL" clId="{48B824AD-1B2A-47A8-8D92-6FE6E622A650}" dt="2024-12-16T11:00:41.967" v="32013"/>
          <ac:spMkLst>
            <pc:docMk/>
            <pc:sldMk cId="515243903" sldId="281"/>
            <ac:spMk id="172" creationId="{56186AF5-04B7-2563-8100-FAF209D650D9}"/>
          </ac:spMkLst>
        </pc:spChg>
        <pc:spChg chg="add del mod modVis">
          <ac:chgData name="Oğuz Öztekin" userId="33c0df0f-d5fe-4bda-8f43-141ad7af67e3" providerId="ADAL" clId="{48B824AD-1B2A-47A8-8D92-6FE6E622A650}" dt="2024-12-16T11:00:44.269" v="32117"/>
          <ac:spMkLst>
            <pc:docMk/>
            <pc:sldMk cId="515243903" sldId="281"/>
            <ac:spMk id="174" creationId="{C63F9872-C884-31BE-36B7-8E98F5E398BA}"/>
          </ac:spMkLst>
        </pc:spChg>
        <pc:spChg chg="add del mod modVis">
          <ac:chgData name="Oğuz Öztekin" userId="33c0df0f-d5fe-4bda-8f43-141ad7af67e3" providerId="ADAL" clId="{48B824AD-1B2A-47A8-8D92-6FE6E622A650}" dt="2024-12-16T11:00:48.647" v="32221"/>
          <ac:spMkLst>
            <pc:docMk/>
            <pc:sldMk cId="515243903" sldId="281"/>
            <ac:spMk id="176" creationId="{EFA8A279-603C-7DDE-AF7D-93224027A120}"/>
          </ac:spMkLst>
        </pc:spChg>
        <pc:spChg chg="add del mod modVis">
          <ac:chgData name="Oğuz Öztekin" userId="33c0df0f-d5fe-4bda-8f43-141ad7af67e3" providerId="ADAL" clId="{48B824AD-1B2A-47A8-8D92-6FE6E622A650}" dt="2024-12-16T11:01:08.038" v="32256"/>
          <ac:spMkLst>
            <pc:docMk/>
            <pc:sldMk cId="515243903" sldId="281"/>
            <ac:spMk id="178" creationId="{F32B295F-7AC4-EF7B-763B-7719855AC9F7}"/>
          </ac:spMkLst>
        </pc:spChg>
        <pc:spChg chg="add del mod modVis">
          <ac:chgData name="Oğuz Öztekin" userId="33c0df0f-d5fe-4bda-8f43-141ad7af67e3" providerId="ADAL" clId="{48B824AD-1B2A-47A8-8D92-6FE6E622A650}" dt="2024-12-16T11:01:09.112" v="32281"/>
          <ac:spMkLst>
            <pc:docMk/>
            <pc:sldMk cId="515243903" sldId="281"/>
            <ac:spMk id="179" creationId="{A9BC3010-4417-1E60-9180-1374934C8E7E}"/>
          </ac:spMkLst>
        </pc:spChg>
        <pc:spChg chg="add del mod modVis">
          <ac:chgData name="Oğuz Öztekin" userId="33c0df0f-d5fe-4bda-8f43-141ad7af67e3" providerId="ADAL" clId="{48B824AD-1B2A-47A8-8D92-6FE6E622A650}" dt="2024-12-16T11:01:12.097" v="32317"/>
          <ac:spMkLst>
            <pc:docMk/>
            <pc:sldMk cId="515243903" sldId="281"/>
            <ac:spMk id="180" creationId="{ED42E267-2C8D-50AB-80E3-B961A4B70C31}"/>
          </ac:spMkLst>
        </pc:spChg>
        <pc:spChg chg="add del mod modVis">
          <ac:chgData name="Oğuz Öztekin" userId="33c0df0f-d5fe-4bda-8f43-141ad7af67e3" providerId="ADAL" clId="{48B824AD-1B2A-47A8-8D92-6FE6E622A650}" dt="2024-12-16T11:01:15.307" v="32359" actId="962"/>
          <ac:spMkLst>
            <pc:docMk/>
            <pc:sldMk cId="515243903" sldId="281"/>
            <ac:spMk id="181" creationId="{4DD3B57D-0F46-6185-77C6-44FED375259C}"/>
          </ac:spMkLst>
        </pc:spChg>
        <pc:spChg chg="add del mod modVis">
          <ac:chgData name="Oğuz Öztekin" userId="33c0df0f-d5fe-4bda-8f43-141ad7af67e3" providerId="ADAL" clId="{48B824AD-1B2A-47A8-8D92-6FE6E622A650}" dt="2024-12-16T11:01:17.232" v="32388"/>
          <ac:spMkLst>
            <pc:docMk/>
            <pc:sldMk cId="515243903" sldId="281"/>
            <ac:spMk id="182" creationId="{4D4ED8D5-5206-000B-F792-1293473177BE}"/>
          </ac:spMkLst>
        </pc:spChg>
        <pc:graphicFrameChg chg="mod">
          <ac:chgData name="Oğuz Öztekin" userId="33c0df0f-d5fe-4bda-8f43-141ad7af67e3" providerId="ADAL" clId="{48B824AD-1B2A-47A8-8D92-6FE6E622A650}" dt="2024-12-16T11:01:17.232" v="32390"/>
          <ac:graphicFrameMkLst>
            <pc:docMk/>
            <pc:sldMk cId="515243903" sldId="281"/>
            <ac:graphicFrameMk id="3" creationId="{CA0D5A41-EF8F-6BFD-C51C-F00BED6543D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8.927" v="27458"/>
          <ac:graphicFrameMkLst>
            <pc:docMk/>
            <pc:sldMk cId="515243903" sldId="281"/>
            <ac:graphicFrameMk id="5" creationId="{EC266201-B2D2-CC2E-ECB5-37F871BFF5CB}"/>
          </ac:graphicFrameMkLst>
        </pc:graphicFrameChg>
        <pc:graphicFrameChg chg="add del mod">
          <ac:chgData name="Oğuz Öztekin" userId="33c0df0f-d5fe-4bda-8f43-141ad7af67e3" providerId="ADAL" clId="{48B824AD-1B2A-47A8-8D92-6FE6E622A650}" dt="2024-12-16T10:50:45.774" v="26664"/>
          <ac:graphicFrameMkLst>
            <pc:docMk/>
            <pc:sldMk cId="515243903" sldId="281"/>
            <ac:graphicFrameMk id="6" creationId="{BE251C4D-1972-0F0D-EAB7-F73D05D95C6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48.631" v="26838"/>
          <ac:graphicFrameMkLst>
            <pc:docMk/>
            <pc:sldMk cId="515243903" sldId="281"/>
            <ac:graphicFrameMk id="25" creationId="{A03F6EA9-BD4E-6E8C-D654-34D76D8C164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1.169" v="26993"/>
          <ac:graphicFrameMkLst>
            <pc:docMk/>
            <pc:sldMk cId="515243903" sldId="281"/>
            <ac:graphicFrameMk id="27" creationId="{86EE45A1-3FD7-7444-6066-5955F42F6E2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2.149" v="27148"/>
          <ac:graphicFrameMkLst>
            <pc:docMk/>
            <pc:sldMk cId="515243903" sldId="281"/>
            <ac:graphicFrameMk id="29" creationId="{040384B1-2CF9-CE56-FA02-83665A59DD9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0:53.489" v="27303"/>
          <ac:graphicFrameMkLst>
            <pc:docMk/>
            <pc:sldMk cId="515243903" sldId="281"/>
            <ac:graphicFrameMk id="31" creationId="{283B80CB-C81B-EC55-636E-CEB7C4D8EFF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03.559" v="27662"/>
          <ac:graphicFrameMkLst>
            <pc:docMk/>
            <pc:sldMk cId="515243903" sldId="281"/>
            <ac:graphicFrameMk id="33" creationId="{9E1A06A1-9A7E-1BED-CA8E-69971F52D55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29.914" v="27974"/>
          <ac:graphicFrameMkLst>
            <pc:docMk/>
            <pc:sldMk cId="515243903" sldId="281"/>
            <ac:graphicFrameMk id="38" creationId="{60C9AE99-9693-8B23-CE1E-FD6A0F887DF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06.064" v="27803"/>
          <ac:graphicFrameMkLst>
            <pc:docMk/>
            <pc:sldMk cId="515243903" sldId="281"/>
            <ac:graphicFrameMk id="40" creationId="{A0D84756-2B9C-B5B8-B825-8C3BA549D30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33.084" v="28129"/>
          <ac:graphicFrameMkLst>
            <pc:docMk/>
            <pc:sldMk cId="515243903" sldId="281"/>
            <ac:graphicFrameMk id="42" creationId="{B5276099-657B-4603-0809-7BFD36CBA1F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25.218" v="28883"/>
          <ac:graphicFrameMkLst>
            <pc:docMk/>
            <pc:sldMk cId="515243903" sldId="281"/>
            <ac:graphicFrameMk id="44" creationId="{319936BB-07DE-458F-90CA-8A8E0E2EF0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36.103" v="28300"/>
          <ac:graphicFrameMkLst>
            <pc:docMk/>
            <pc:sldMk cId="515243903" sldId="281"/>
            <ac:graphicFrameMk id="46" creationId="{A13A7CAC-DF3C-6B41-504D-7E4AE141662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1:49.564" v="28436"/>
          <ac:graphicFrameMkLst>
            <pc:docMk/>
            <pc:sldMk cId="515243903" sldId="281"/>
            <ac:graphicFrameMk id="48" creationId="{46DF2071-58C7-D2A7-0B21-86EF53A7772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02.121" v="28624"/>
          <ac:graphicFrameMkLst>
            <pc:docMk/>
            <pc:sldMk cId="515243903" sldId="281"/>
            <ac:graphicFrameMk id="50" creationId="{FEDEF0E3-1CA4-A85E-C16A-DDB7D6BA392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04.700" v="28745"/>
          <ac:graphicFrameMkLst>
            <pc:docMk/>
            <pc:sldMk cId="515243903" sldId="281"/>
            <ac:graphicFrameMk id="55" creationId="{1CAC472B-036B-433A-5FE8-08F2DC5CF58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43.196" v="29500"/>
          <ac:graphicFrameMkLst>
            <pc:docMk/>
            <pc:sldMk cId="515243903" sldId="281"/>
            <ac:graphicFrameMk id="57" creationId="{A52E3CEA-CB57-D3FB-03C1-6574F66CC20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29.817" v="29065"/>
          <ac:graphicFrameMkLst>
            <pc:docMk/>
            <pc:sldMk cId="515243903" sldId="281"/>
            <ac:graphicFrameMk id="59" creationId="{A7FF3993-5308-D63F-BC45-A01FAB9701F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33.882" v="29186"/>
          <ac:graphicFrameMkLst>
            <pc:docMk/>
            <pc:sldMk cId="515243903" sldId="281"/>
            <ac:graphicFrameMk id="61" creationId="{58CD1D89-1985-A9D5-7F47-C5771F189FE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38.622" v="29335"/>
          <ac:graphicFrameMkLst>
            <pc:docMk/>
            <pc:sldMk cId="515243903" sldId="281"/>
            <ac:graphicFrameMk id="63" creationId="{C0937C3C-07F5-AF9F-09F1-D71F81D4BB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3:48.496" v="30669"/>
          <ac:graphicFrameMkLst>
            <pc:docMk/>
            <pc:sldMk cId="515243903" sldId="281"/>
            <ac:graphicFrameMk id="65" creationId="{3F418AA2-B586-D1FF-DD9A-19887A79C9C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45.678" v="29876"/>
          <ac:graphicFrameMkLst>
            <pc:docMk/>
            <pc:sldMk cId="515243903" sldId="281"/>
            <ac:graphicFrameMk id="67" creationId="{4CAFA7F5-5848-375B-E5FD-6A0D67D3ECC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2:48.587" v="30010"/>
          <ac:graphicFrameMkLst>
            <pc:docMk/>
            <pc:sldMk cId="515243903" sldId="281"/>
            <ac:graphicFrameMk id="79" creationId="{52886572-FFD3-071A-CF61-1699E9AD92B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0:53:44.717" v="30489"/>
          <ac:graphicFrameMkLst>
            <pc:docMk/>
            <pc:sldMk cId="515243903" sldId="281"/>
            <ac:graphicFrameMk id="81" creationId="{9A15601D-B91C-A219-06B3-7AF815B91A37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0:53:12.991" v="30370"/>
          <ac:graphicFrameMkLst>
            <pc:docMk/>
            <pc:sldMk cId="515243903" sldId="281"/>
            <ac:graphicFrameMk id="83" creationId="{7ED3ECC5-15B4-D987-A638-D05938ED47E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37.492" v="31769"/>
          <ac:graphicFrameMkLst>
            <pc:docMk/>
            <pc:sldMk cId="515243903" sldId="281"/>
            <ac:graphicFrameMk id="85" creationId="{2C3A4D60-112C-43FD-6C82-E8BAFC1461F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05.090" v="31342"/>
          <ac:graphicFrameMkLst>
            <pc:docMk/>
            <pc:sldMk cId="515243903" sldId="281"/>
            <ac:graphicFrameMk id="94" creationId="{2F7C06EE-B030-FCCE-E2E6-FA30E3188E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11.796" v="31516"/>
          <ac:graphicFrameMkLst>
            <pc:docMk/>
            <pc:sldMk cId="515243903" sldId="281"/>
            <ac:graphicFrameMk id="165" creationId="{8BF45163-585D-0863-C27C-DA396AC2686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15.197" v="31635"/>
          <ac:graphicFrameMkLst>
            <pc:docMk/>
            <pc:sldMk cId="515243903" sldId="281"/>
            <ac:graphicFrameMk id="167" creationId="{D1E9BF20-E464-64F2-C88A-A36DBBEC228B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00:48.634" v="32171"/>
          <ac:graphicFrameMkLst>
            <pc:docMk/>
            <pc:sldMk cId="515243903" sldId="281"/>
            <ac:graphicFrameMk id="169" creationId="{4A46F295-4B9B-49F8-1A97-37A31640E62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41.926" v="31945"/>
          <ac:graphicFrameMkLst>
            <pc:docMk/>
            <pc:sldMk cId="515243903" sldId="281"/>
            <ac:graphicFrameMk id="171" creationId="{4B32BEDE-91B6-E29D-4A99-9945EBD93AB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44.235" v="32058"/>
          <ac:graphicFrameMkLst>
            <pc:docMk/>
            <pc:sldMk cId="515243903" sldId="281"/>
            <ac:graphicFrameMk id="173" creationId="{A7B6C994-1D4C-6638-C8B3-8506F643A3E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0:48.616" v="32162"/>
          <ac:graphicFrameMkLst>
            <pc:docMk/>
            <pc:sldMk cId="515243903" sldId="281"/>
            <ac:graphicFrameMk id="175" creationId="{03D5ACCF-C66F-6058-0CE0-28FBDD2E681E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00:48.640" v="32195"/>
          <ac:graphicFrameMkLst>
            <pc:docMk/>
            <pc:sldMk cId="515243903" sldId="281"/>
            <ac:graphicFrameMk id="177" creationId="{5DAD0565-F7CF-FA47-D6F3-818DD04B0AB6}"/>
          </ac:graphicFrameMkLst>
        </pc:graphicFrameChg>
        <pc:graphicFrameChg chg="del">
          <ac:chgData name="Oğuz Öztekin" userId="33c0df0f-d5fe-4bda-8f43-141ad7af67e3" providerId="ADAL" clId="{48B824AD-1B2A-47A8-8D92-6FE6E622A650}" dt="2024-12-16T10:50:39.676" v="26258"/>
          <ac:graphicFrameMkLst>
            <pc:docMk/>
            <pc:sldMk cId="515243903" sldId="281"/>
            <ac:graphicFrameMk id="188" creationId="{B18192F9-3842-CF87-70F4-24612B5E5782}"/>
          </ac:graphicFrameMkLst>
        </pc:graphicFrameChg>
        <pc:cxnChg chg="add mod ord">
          <ac:chgData name="Oğuz Öztekin" userId="33c0df0f-d5fe-4bda-8f43-141ad7af67e3" providerId="ADAL" clId="{48B824AD-1B2A-47A8-8D92-6FE6E622A650}" dt="2024-12-16T11:00:48.641" v="32197"/>
          <ac:cxnSpMkLst>
            <pc:docMk/>
            <pc:sldMk cId="515243903" sldId="281"/>
            <ac:cxnSpMk id="7" creationId="{2BF9F0F0-5E0E-3E90-6C04-8F40E74B5739}"/>
          </ac:cxnSpMkLst>
        </pc:cxnChg>
        <pc:cxnChg chg="add mod ord">
          <ac:chgData name="Oğuz Öztekin" userId="33c0df0f-d5fe-4bda-8f43-141ad7af67e3" providerId="ADAL" clId="{48B824AD-1B2A-47A8-8D92-6FE6E622A650}" dt="2024-12-16T11:00:48.641" v="32199"/>
          <ac:cxnSpMkLst>
            <pc:docMk/>
            <pc:sldMk cId="515243903" sldId="281"/>
            <ac:cxnSpMk id="8" creationId="{2086B08D-D26E-5E0F-CAF9-066802FFF212}"/>
          </ac:cxnSpMkLst>
        </pc:cxnChg>
        <pc:cxnChg chg="add mod ord">
          <ac:chgData name="Oğuz Öztekin" userId="33c0df0f-d5fe-4bda-8f43-141ad7af67e3" providerId="ADAL" clId="{48B824AD-1B2A-47A8-8D92-6FE6E622A650}" dt="2024-12-16T11:00:48.641" v="32201"/>
          <ac:cxnSpMkLst>
            <pc:docMk/>
            <pc:sldMk cId="515243903" sldId="281"/>
            <ac:cxnSpMk id="9" creationId="{D112531E-8694-9309-02AB-DD489E08238D}"/>
          </ac:cxnSpMkLst>
        </pc:cxnChg>
        <pc:cxnChg chg="add mod ord">
          <ac:chgData name="Oğuz Öztekin" userId="33c0df0f-d5fe-4bda-8f43-141ad7af67e3" providerId="ADAL" clId="{48B824AD-1B2A-47A8-8D92-6FE6E622A650}" dt="2024-12-16T11:00:48.642" v="32204"/>
          <ac:cxnSpMkLst>
            <pc:docMk/>
            <pc:sldMk cId="515243903" sldId="281"/>
            <ac:cxnSpMk id="11" creationId="{54D0DF3A-A592-163F-99A6-C4F3F11AB575}"/>
          </ac:cxnSpMkLst>
        </pc:cxnChg>
        <pc:cxnChg chg="add del mod ord">
          <ac:chgData name="Oğuz Öztekin" userId="33c0df0f-d5fe-4bda-8f43-141ad7af67e3" providerId="ADAL" clId="{48B824AD-1B2A-47A8-8D92-6FE6E622A650}" dt="2024-12-16T11:00:48.636" v="32180"/>
          <ac:cxnSpMkLst>
            <pc:docMk/>
            <pc:sldMk cId="515243903" sldId="281"/>
            <ac:cxnSpMk id="53" creationId="{FF13D739-EF78-B566-CDE5-78E461F77BC2}"/>
          </ac:cxnSpMkLst>
        </pc:cxnChg>
        <pc:cxnChg chg="mod ord">
          <ac:chgData name="Oğuz Öztekin" userId="33c0df0f-d5fe-4bda-8f43-141ad7af67e3" providerId="ADAL" clId="{48B824AD-1B2A-47A8-8D92-6FE6E622A650}" dt="2024-12-16T11:00:48.634" v="32173"/>
          <ac:cxnSpMkLst>
            <pc:docMk/>
            <pc:sldMk cId="515243903" sldId="281"/>
            <ac:cxnSpMk id="73" creationId="{C39BE704-5FFB-187F-5910-7F4F654B6F7C}"/>
          </ac:cxnSpMkLst>
        </pc:cxnChg>
        <pc:cxnChg chg="mod ord">
          <ac:chgData name="Oğuz Öztekin" userId="33c0df0f-d5fe-4bda-8f43-141ad7af67e3" providerId="ADAL" clId="{48B824AD-1B2A-47A8-8D92-6FE6E622A650}" dt="2024-12-16T11:00:48.635" v="32175"/>
          <ac:cxnSpMkLst>
            <pc:docMk/>
            <pc:sldMk cId="515243903" sldId="281"/>
            <ac:cxnSpMk id="74" creationId="{50858670-0D3D-06A7-E6EA-75749847BA4A}"/>
          </ac:cxnSpMkLst>
        </pc:cxnChg>
        <pc:cxnChg chg="mod ord">
          <ac:chgData name="Oğuz Öztekin" userId="33c0df0f-d5fe-4bda-8f43-141ad7af67e3" providerId="ADAL" clId="{48B824AD-1B2A-47A8-8D92-6FE6E622A650}" dt="2024-12-16T11:00:48.635" v="32177"/>
          <ac:cxnSpMkLst>
            <pc:docMk/>
            <pc:sldMk cId="515243903" sldId="281"/>
            <ac:cxnSpMk id="75" creationId="{8F65613B-5AF8-3BA6-1A03-D7322B43DC9E}"/>
          </ac:cxnSpMkLst>
        </pc:cxnChg>
      </pc:sldChg>
      <pc:sldChg chg="del">
        <pc:chgData name="Oğuz Öztekin" userId="33c0df0f-d5fe-4bda-8f43-141ad7af67e3" providerId="ADAL" clId="{48B824AD-1B2A-47A8-8D92-6FE6E622A650}" dt="2024-12-16T09:07:20.462" v="4" actId="2696"/>
        <pc:sldMkLst>
          <pc:docMk/>
          <pc:sldMk cId="173792906" sldId="282"/>
        </pc:sldMkLst>
      </pc:sldChg>
      <pc:sldChg chg="delSp modSp add del mod">
        <pc:chgData name="Oğuz Öztekin" userId="33c0df0f-d5fe-4bda-8f43-141ad7af67e3" providerId="ADAL" clId="{48B824AD-1B2A-47A8-8D92-6FE6E622A650}" dt="2024-12-16T10:58:01.894" v="31245" actId="2696"/>
        <pc:sldMkLst>
          <pc:docMk/>
          <pc:sldMk cId="1894719517" sldId="282"/>
        </pc:sldMkLst>
        <pc:spChg chg="mod">
          <ac:chgData name="Oğuz Öztekin" userId="33c0df0f-d5fe-4bda-8f43-141ad7af67e3" providerId="ADAL" clId="{48B824AD-1B2A-47A8-8D92-6FE6E622A650}" dt="2024-12-16T10:50:32.922" v="26039" actId="948"/>
          <ac:spMkLst>
            <pc:docMk/>
            <pc:sldMk cId="1894719517" sldId="282"/>
            <ac:spMk id="2" creationId="{4983EBA6-5555-F575-CE22-723C7B22AC85}"/>
          </ac:spMkLst>
        </pc:spChg>
        <pc:spChg chg="del">
          <ac:chgData name="Oğuz Öztekin" userId="33c0df0f-d5fe-4bda-8f43-141ad7af67e3" providerId="ADAL" clId="{48B824AD-1B2A-47A8-8D92-6FE6E622A650}" dt="2024-12-16T10:50:32.916" v="26034"/>
          <ac:spMkLst>
            <pc:docMk/>
            <pc:sldMk cId="1894719517" sldId="282"/>
            <ac:spMk id="35" creationId="{F6445D6D-E473-0B5A-DDED-20951BA71E4D}"/>
          </ac:spMkLst>
        </pc:spChg>
        <pc:spChg chg="del">
          <ac:chgData name="Oğuz Öztekin" userId="33c0df0f-d5fe-4bda-8f43-141ad7af67e3" providerId="ADAL" clId="{48B824AD-1B2A-47A8-8D92-6FE6E622A650}" dt="2024-12-16T10:50:32.915" v="26031"/>
          <ac:spMkLst>
            <pc:docMk/>
            <pc:sldMk cId="1894719517" sldId="282"/>
            <ac:spMk id="36" creationId="{86257401-F312-4D36-FA01-03BDC8B913BB}"/>
          </ac:spMkLst>
        </pc:spChg>
        <pc:spChg chg="del">
          <ac:chgData name="Oğuz Öztekin" userId="33c0df0f-d5fe-4bda-8f43-141ad7af67e3" providerId="ADAL" clId="{48B824AD-1B2A-47A8-8D92-6FE6E622A650}" dt="2024-12-16T10:50:32.914" v="26028"/>
          <ac:spMkLst>
            <pc:docMk/>
            <pc:sldMk cId="1894719517" sldId="282"/>
            <ac:spMk id="37" creationId="{F819568D-DCAF-B6BE-857A-64D87FF80465}"/>
          </ac:spMkLst>
        </pc:spChg>
        <pc:spChg chg="del">
          <ac:chgData name="Oğuz Öztekin" userId="33c0df0f-d5fe-4bda-8f43-141ad7af67e3" providerId="ADAL" clId="{48B824AD-1B2A-47A8-8D92-6FE6E622A650}" dt="2024-12-16T10:50:32.913" v="26025"/>
          <ac:spMkLst>
            <pc:docMk/>
            <pc:sldMk cId="1894719517" sldId="282"/>
            <ac:spMk id="86" creationId="{5A4DFBAC-33DA-E2EE-688C-EB7D9085FD8C}"/>
          </ac:spMkLst>
        </pc:spChg>
        <pc:spChg chg="del">
          <ac:chgData name="Oğuz Öztekin" userId="33c0df0f-d5fe-4bda-8f43-141ad7af67e3" providerId="ADAL" clId="{48B824AD-1B2A-47A8-8D92-6FE6E622A650}" dt="2024-12-16T10:50:32.912" v="26022"/>
          <ac:spMkLst>
            <pc:docMk/>
            <pc:sldMk cId="1894719517" sldId="282"/>
            <ac:spMk id="87" creationId="{F65A80AE-5E73-EB6D-164C-3F7E977CE21D}"/>
          </ac:spMkLst>
        </pc:spChg>
        <pc:spChg chg="del">
          <ac:chgData name="Oğuz Öztekin" userId="33c0df0f-d5fe-4bda-8f43-141ad7af67e3" providerId="ADAL" clId="{48B824AD-1B2A-47A8-8D92-6FE6E622A650}" dt="2024-12-16T10:50:32.911" v="26019"/>
          <ac:spMkLst>
            <pc:docMk/>
            <pc:sldMk cId="1894719517" sldId="282"/>
            <ac:spMk id="88" creationId="{258BF669-D402-E092-7B44-361773EA19CF}"/>
          </ac:spMkLst>
        </pc:spChg>
        <pc:spChg chg="del">
          <ac:chgData name="Oğuz Öztekin" userId="33c0df0f-d5fe-4bda-8f43-141ad7af67e3" providerId="ADAL" clId="{48B824AD-1B2A-47A8-8D92-6FE6E622A650}" dt="2024-12-16T10:50:32.911" v="26016"/>
          <ac:spMkLst>
            <pc:docMk/>
            <pc:sldMk cId="1894719517" sldId="282"/>
            <ac:spMk id="89" creationId="{DFCBCD87-290B-EEAD-2740-D67E1725DCE5}"/>
          </ac:spMkLst>
        </pc:spChg>
        <pc:spChg chg="del">
          <ac:chgData name="Oğuz Öztekin" userId="33c0df0f-d5fe-4bda-8f43-141ad7af67e3" providerId="ADAL" clId="{48B824AD-1B2A-47A8-8D92-6FE6E622A650}" dt="2024-12-16T10:50:32.909" v="26013"/>
          <ac:spMkLst>
            <pc:docMk/>
            <pc:sldMk cId="1894719517" sldId="282"/>
            <ac:spMk id="90" creationId="{2583BB3A-19F5-84CD-F1DB-6DF57C836AE1}"/>
          </ac:spMkLst>
        </pc:spChg>
        <pc:spChg chg="del">
          <ac:chgData name="Oğuz Öztekin" userId="33c0df0f-d5fe-4bda-8f43-141ad7af67e3" providerId="ADAL" clId="{48B824AD-1B2A-47A8-8D92-6FE6E622A650}" dt="2024-12-16T10:50:32.908" v="26010"/>
          <ac:spMkLst>
            <pc:docMk/>
            <pc:sldMk cId="1894719517" sldId="282"/>
            <ac:spMk id="91" creationId="{3F075C18-40B0-F709-9E67-40D536D9C423}"/>
          </ac:spMkLst>
        </pc:spChg>
        <pc:spChg chg="del">
          <ac:chgData name="Oğuz Öztekin" userId="33c0df0f-d5fe-4bda-8f43-141ad7af67e3" providerId="ADAL" clId="{48B824AD-1B2A-47A8-8D92-6FE6E622A650}" dt="2024-12-16T10:50:32.908" v="26007"/>
          <ac:spMkLst>
            <pc:docMk/>
            <pc:sldMk cId="1894719517" sldId="282"/>
            <ac:spMk id="92" creationId="{54181CCF-FD3A-DCF7-FC37-50E70F859E90}"/>
          </ac:spMkLst>
        </pc:spChg>
        <pc:spChg chg="del">
          <ac:chgData name="Oğuz Öztekin" userId="33c0df0f-d5fe-4bda-8f43-141ad7af67e3" providerId="ADAL" clId="{48B824AD-1B2A-47A8-8D92-6FE6E622A650}" dt="2024-12-16T10:50:32.916" v="26036"/>
          <ac:spMkLst>
            <pc:docMk/>
            <pc:sldMk cId="1894719517" sldId="282"/>
            <ac:spMk id="191" creationId="{B3A2EE3B-EF2C-A323-2D27-E0740554ABA1}"/>
          </ac:spMkLst>
        </pc:spChg>
        <pc:spChg chg="del">
          <ac:chgData name="Oğuz Öztekin" userId="33c0df0f-d5fe-4bda-8f43-141ad7af67e3" providerId="ADAL" clId="{48B824AD-1B2A-47A8-8D92-6FE6E622A650}" dt="2024-12-16T10:50:32.916" v="26035"/>
          <ac:spMkLst>
            <pc:docMk/>
            <pc:sldMk cId="1894719517" sldId="282"/>
            <ac:spMk id="192" creationId="{280618E8-6E9D-AA29-766C-E8AD9134839B}"/>
          </ac:spMkLst>
        </pc:spChg>
        <pc:spChg chg="del">
          <ac:chgData name="Oğuz Öztekin" userId="33c0df0f-d5fe-4bda-8f43-141ad7af67e3" providerId="ADAL" clId="{48B824AD-1B2A-47A8-8D92-6FE6E622A650}" dt="2024-12-16T10:50:32.915" v="26033"/>
          <ac:spMkLst>
            <pc:docMk/>
            <pc:sldMk cId="1894719517" sldId="282"/>
            <ac:spMk id="268" creationId="{1D63501B-BC89-8612-2C62-5EC4191842A8}"/>
          </ac:spMkLst>
        </pc:spChg>
        <pc:spChg chg="del">
          <ac:chgData name="Oğuz Öztekin" userId="33c0df0f-d5fe-4bda-8f43-141ad7af67e3" providerId="ADAL" clId="{48B824AD-1B2A-47A8-8D92-6FE6E622A650}" dt="2024-12-16T10:50:32.915" v="26032"/>
          <ac:spMkLst>
            <pc:docMk/>
            <pc:sldMk cId="1894719517" sldId="282"/>
            <ac:spMk id="269" creationId="{2DADC05F-B5BD-800C-E8F4-4C15DB9488CF}"/>
          </ac:spMkLst>
        </pc:spChg>
        <pc:spChg chg="del">
          <ac:chgData name="Oğuz Öztekin" userId="33c0df0f-d5fe-4bda-8f43-141ad7af67e3" providerId="ADAL" clId="{48B824AD-1B2A-47A8-8D92-6FE6E622A650}" dt="2024-12-16T10:50:32.914" v="26030"/>
          <ac:spMkLst>
            <pc:docMk/>
            <pc:sldMk cId="1894719517" sldId="282"/>
            <ac:spMk id="270" creationId="{9444AE7A-36FD-53EA-BA78-3B3B0BCEB254}"/>
          </ac:spMkLst>
        </pc:spChg>
        <pc:spChg chg="del">
          <ac:chgData name="Oğuz Öztekin" userId="33c0df0f-d5fe-4bda-8f43-141ad7af67e3" providerId="ADAL" clId="{48B824AD-1B2A-47A8-8D92-6FE6E622A650}" dt="2024-12-16T10:50:32.914" v="26029"/>
          <ac:spMkLst>
            <pc:docMk/>
            <pc:sldMk cId="1894719517" sldId="282"/>
            <ac:spMk id="271" creationId="{6982DA73-F961-6409-0C78-EF2544A4C7EB}"/>
          </ac:spMkLst>
        </pc:spChg>
        <pc:spChg chg="del">
          <ac:chgData name="Oğuz Öztekin" userId="33c0df0f-d5fe-4bda-8f43-141ad7af67e3" providerId="ADAL" clId="{48B824AD-1B2A-47A8-8D92-6FE6E622A650}" dt="2024-12-16T10:50:32.914" v="26027"/>
          <ac:spMkLst>
            <pc:docMk/>
            <pc:sldMk cId="1894719517" sldId="282"/>
            <ac:spMk id="272" creationId="{696CB8AD-5D99-BE11-1E49-0EAA189DE70C}"/>
          </ac:spMkLst>
        </pc:spChg>
        <pc:spChg chg="del">
          <ac:chgData name="Oğuz Öztekin" userId="33c0df0f-d5fe-4bda-8f43-141ad7af67e3" providerId="ADAL" clId="{48B824AD-1B2A-47A8-8D92-6FE6E622A650}" dt="2024-12-16T10:50:32.913" v="26026"/>
          <ac:spMkLst>
            <pc:docMk/>
            <pc:sldMk cId="1894719517" sldId="282"/>
            <ac:spMk id="273" creationId="{6D6B9252-AED7-B39D-29E0-D6C146360B4C}"/>
          </ac:spMkLst>
        </pc:spChg>
        <pc:spChg chg="del">
          <ac:chgData name="Oğuz Öztekin" userId="33c0df0f-d5fe-4bda-8f43-141ad7af67e3" providerId="ADAL" clId="{48B824AD-1B2A-47A8-8D92-6FE6E622A650}" dt="2024-12-16T10:50:32.913" v="26024"/>
          <ac:spMkLst>
            <pc:docMk/>
            <pc:sldMk cId="1894719517" sldId="282"/>
            <ac:spMk id="274" creationId="{41CC48C2-6E35-E5E6-D2DC-F8FA659770FC}"/>
          </ac:spMkLst>
        </pc:spChg>
        <pc:spChg chg="del">
          <ac:chgData name="Oğuz Öztekin" userId="33c0df0f-d5fe-4bda-8f43-141ad7af67e3" providerId="ADAL" clId="{48B824AD-1B2A-47A8-8D92-6FE6E622A650}" dt="2024-12-16T10:50:32.912" v="26023"/>
          <ac:spMkLst>
            <pc:docMk/>
            <pc:sldMk cId="1894719517" sldId="282"/>
            <ac:spMk id="275" creationId="{EA10FA6D-FD7B-1400-4327-9E4C5AFE2075}"/>
          </ac:spMkLst>
        </pc:spChg>
        <pc:spChg chg="del">
          <ac:chgData name="Oğuz Öztekin" userId="33c0df0f-d5fe-4bda-8f43-141ad7af67e3" providerId="ADAL" clId="{48B824AD-1B2A-47A8-8D92-6FE6E622A650}" dt="2024-12-16T10:50:32.912" v="26021"/>
          <ac:spMkLst>
            <pc:docMk/>
            <pc:sldMk cId="1894719517" sldId="282"/>
            <ac:spMk id="276" creationId="{5292B094-4F9C-3F63-1FA9-75BF1E7C1F13}"/>
          </ac:spMkLst>
        </pc:spChg>
        <pc:spChg chg="del">
          <ac:chgData name="Oğuz Öztekin" userId="33c0df0f-d5fe-4bda-8f43-141ad7af67e3" providerId="ADAL" clId="{48B824AD-1B2A-47A8-8D92-6FE6E622A650}" dt="2024-12-16T10:50:32.911" v="26020"/>
          <ac:spMkLst>
            <pc:docMk/>
            <pc:sldMk cId="1894719517" sldId="282"/>
            <ac:spMk id="277" creationId="{88A11B16-EC67-2932-204D-EDBF4FC6B860}"/>
          </ac:spMkLst>
        </pc:spChg>
        <pc:spChg chg="del">
          <ac:chgData name="Oğuz Öztekin" userId="33c0df0f-d5fe-4bda-8f43-141ad7af67e3" providerId="ADAL" clId="{48B824AD-1B2A-47A8-8D92-6FE6E622A650}" dt="2024-12-16T10:50:32.911" v="26018"/>
          <ac:spMkLst>
            <pc:docMk/>
            <pc:sldMk cId="1894719517" sldId="282"/>
            <ac:spMk id="278" creationId="{43E6A6AB-F875-4769-1EF3-08CFFFA775A5}"/>
          </ac:spMkLst>
        </pc:spChg>
        <pc:spChg chg="del">
          <ac:chgData name="Oğuz Öztekin" userId="33c0df0f-d5fe-4bda-8f43-141ad7af67e3" providerId="ADAL" clId="{48B824AD-1B2A-47A8-8D92-6FE6E622A650}" dt="2024-12-16T10:50:32.911" v="26017"/>
          <ac:spMkLst>
            <pc:docMk/>
            <pc:sldMk cId="1894719517" sldId="282"/>
            <ac:spMk id="279" creationId="{C8463240-9179-FC30-67E9-27D45534993E}"/>
          </ac:spMkLst>
        </pc:spChg>
        <pc:spChg chg="del">
          <ac:chgData name="Oğuz Öztekin" userId="33c0df0f-d5fe-4bda-8f43-141ad7af67e3" providerId="ADAL" clId="{48B824AD-1B2A-47A8-8D92-6FE6E622A650}" dt="2024-12-16T10:50:32.911" v="26015"/>
          <ac:spMkLst>
            <pc:docMk/>
            <pc:sldMk cId="1894719517" sldId="282"/>
            <ac:spMk id="280" creationId="{DBE01AA2-B528-FAAB-3A1B-60CF615184AD}"/>
          </ac:spMkLst>
        </pc:spChg>
        <pc:spChg chg="del">
          <ac:chgData name="Oğuz Öztekin" userId="33c0df0f-d5fe-4bda-8f43-141ad7af67e3" providerId="ADAL" clId="{48B824AD-1B2A-47A8-8D92-6FE6E622A650}" dt="2024-12-16T10:50:32.910" v="26014"/>
          <ac:spMkLst>
            <pc:docMk/>
            <pc:sldMk cId="1894719517" sldId="282"/>
            <ac:spMk id="281" creationId="{5B4BF8C3-C116-BEAE-1076-C45D69DCBC16}"/>
          </ac:spMkLst>
        </pc:spChg>
        <pc:spChg chg="del">
          <ac:chgData name="Oğuz Öztekin" userId="33c0df0f-d5fe-4bda-8f43-141ad7af67e3" providerId="ADAL" clId="{48B824AD-1B2A-47A8-8D92-6FE6E622A650}" dt="2024-12-16T10:50:32.909" v="26012"/>
          <ac:spMkLst>
            <pc:docMk/>
            <pc:sldMk cId="1894719517" sldId="282"/>
            <ac:spMk id="282" creationId="{E5D088CA-2DE6-C95E-7926-5822B16C1335}"/>
          </ac:spMkLst>
        </pc:spChg>
        <pc:spChg chg="del">
          <ac:chgData name="Oğuz Öztekin" userId="33c0df0f-d5fe-4bda-8f43-141ad7af67e3" providerId="ADAL" clId="{48B824AD-1B2A-47A8-8D92-6FE6E622A650}" dt="2024-12-16T10:50:32.909" v="26011"/>
          <ac:spMkLst>
            <pc:docMk/>
            <pc:sldMk cId="1894719517" sldId="282"/>
            <ac:spMk id="283" creationId="{FF3DA1A3-F5AF-C883-1A08-ADE01AB6029E}"/>
          </ac:spMkLst>
        </pc:spChg>
        <pc:spChg chg="del">
          <ac:chgData name="Oğuz Öztekin" userId="33c0df0f-d5fe-4bda-8f43-141ad7af67e3" providerId="ADAL" clId="{48B824AD-1B2A-47A8-8D92-6FE6E622A650}" dt="2024-12-16T10:50:32.908" v="26009"/>
          <ac:spMkLst>
            <pc:docMk/>
            <pc:sldMk cId="1894719517" sldId="282"/>
            <ac:spMk id="284" creationId="{A52654CF-408A-3C4B-E552-46BCFFECA9BA}"/>
          </ac:spMkLst>
        </pc:spChg>
        <pc:spChg chg="del">
          <ac:chgData name="Oğuz Öztekin" userId="33c0df0f-d5fe-4bda-8f43-141ad7af67e3" providerId="ADAL" clId="{48B824AD-1B2A-47A8-8D92-6FE6E622A650}" dt="2024-12-16T10:50:32.908" v="26008"/>
          <ac:spMkLst>
            <pc:docMk/>
            <pc:sldMk cId="1894719517" sldId="282"/>
            <ac:spMk id="285" creationId="{4B9F8A4A-1CA2-D31D-BC50-970E241A1779}"/>
          </ac:spMkLst>
        </pc:spChg>
        <pc:spChg chg="del">
          <ac:chgData name="Oğuz Öztekin" userId="33c0df0f-d5fe-4bda-8f43-141ad7af67e3" providerId="ADAL" clId="{48B824AD-1B2A-47A8-8D92-6FE6E622A650}" dt="2024-12-16T10:50:32.907" v="26006"/>
          <ac:spMkLst>
            <pc:docMk/>
            <pc:sldMk cId="1894719517" sldId="282"/>
            <ac:spMk id="286" creationId="{B058149D-CC76-C9AA-D486-CFBD523E6837}"/>
          </ac:spMkLst>
        </pc:spChg>
        <pc:spChg chg="del">
          <ac:chgData name="Oğuz Öztekin" userId="33c0df0f-d5fe-4bda-8f43-141ad7af67e3" providerId="ADAL" clId="{48B824AD-1B2A-47A8-8D92-6FE6E622A650}" dt="2024-12-16T10:50:32.907" v="26005"/>
          <ac:spMkLst>
            <pc:docMk/>
            <pc:sldMk cId="1894719517" sldId="282"/>
            <ac:spMk id="287" creationId="{F60CEE87-FCD9-DBA7-247E-D4111CC748B3}"/>
          </ac:spMkLst>
        </pc:spChg>
        <pc:graphicFrameChg chg="mod">
          <ac:chgData name="Oğuz Öztekin" userId="33c0df0f-d5fe-4bda-8f43-141ad7af67e3" providerId="ADAL" clId="{48B824AD-1B2A-47A8-8D92-6FE6E622A650}" dt="2024-12-16T10:50:32.924" v="26041"/>
          <ac:graphicFrameMkLst>
            <pc:docMk/>
            <pc:sldMk cId="1894719517" sldId="282"/>
            <ac:graphicFrameMk id="3" creationId="{5FF23ABA-80A6-ECC2-345C-F04B1413539F}"/>
          </ac:graphicFrameMkLst>
        </pc:graphicFrameChg>
        <pc:graphicFrameChg chg="del">
          <ac:chgData name="Oğuz Öztekin" userId="33c0df0f-d5fe-4bda-8f43-141ad7af67e3" providerId="ADAL" clId="{48B824AD-1B2A-47A8-8D92-6FE6E622A650}" dt="2024-12-16T10:50:32.918" v="26038"/>
          <ac:graphicFrameMkLst>
            <pc:docMk/>
            <pc:sldMk cId="1894719517" sldId="282"/>
            <ac:graphicFrameMk id="366" creationId="{11C9C4A2-6054-6361-5F70-363D62255305}"/>
          </ac:graphicFrameMkLst>
        </pc:graphicFrameChg>
      </pc:sldChg>
      <pc:sldChg chg="addSp delSp modSp add mod">
        <pc:chgData name="Oğuz Öztekin" userId="33c0df0f-d5fe-4bda-8f43-141ad7af67e3" providerId="ADAL" clId="{48B824AD-1B2A-47A8-8D92-6FE6E622A650}" dt="2024-12-16T11:06:47.625" v="44568"/>
        <pc:sldMkLst>
          <pc:docMk/>
          <pc:sldMk cId="4074781327" sldId="282"/>
        </pc:sldMkLst>
        <pc:spChg chg="mod ord">
          <ac:chgData name="Oğuz Öztekin" userId="33c0df0f-d5fe-4bda-8f43-141ad7af67e3" providerId="ADAL" clId="{48B824AD-1B2A-47A8-8D92-6FE6E622A650}" dt="2024-12-16T11:06:47.608" v="44545" actId="948"/>
          <ac:spMkLst>
            <pc:docMk/>
            <pc:sldMk cId="4074781327" sldId="282"/>
            <ac:spMk id="2" creationId="{C494C7DF-21F7-91E5-36CE-1826B4741B3F}"/>
          </ac:spMkLst>
        </pc:spChg>
        <pc:spChg chg="add del mod modVis">
          <ac:chgData name="Oğuz Öztekin" userId="33c0df0f-d5fe-4bda-8f43-141ad7af67e3" providerId="ADAL" clId="{48B824AD-1B2A-47A8-8D92-6FE6E622A650}" dt="2024-12-16T11:02:27.933" v="32585"/>
          <ac:spMkLst>
            <pc:docMk/>
            <pc:sldMk cId="4074781327" sldId="282"/>
            <ac:spMk id="4" creationId="{30CEF703-10D7-1FAC-1677-29CCF2BA9CAE}"/>
          </ac:spMkLst>
        </pc:spChg>
        <pc:spChg chg="add del mod modVis">
          <ac:chgData name="Oğuz Öztekin" userId="33c0df0f-d5fe-4bda-8f43-141ad7af67e3" providerId="ADAL" clId="{48B824AD-1B2A-47A8-8D92-6FE6E622A650}" dt="2024-12-16T11:02:29.280" v="32761"/>
          <ac:spMkLst>
            <pc:docMk/>
            <pc:sldMk cId="4074781327" sldId="282"/>
            <ac:spMk id="6" creationId="{31714FD7-C706-5C76-A3C2-C9DF9F42D7E7}"/>
          </ac:spMkLst>
        </pc:spChg>
        <pc:spChg chg="mod">
          <ac:chgData name="Oğuz Öztekin" userId="33c0df0f-d5fe-4bda-8f43-141ad7af67e3" providerId="ADAL" clId="{48B824AD-1B2A-47A8-8D92-6FE6E622A650}" dt="2024-12-16T11:05:45.446" v="44429"/>
          <ac:spMkLst>
            <pc:docMk/>
            <pc:sldMk cId="4074781327" sldId="282"/>
            <ac:spMk id="10" creationId="{3BD6FA32-8681-2CAB-3B2F-FF3E28B2681E}"/>
          </ac:spMkLst>
        </pc:spChg>
        <pc:spChg chg="mod">
          <ac:chgData name="Oğuz Öztekin" userId="33c0df0f-d5fe-4bda-8f43-141ad7af67e3" providerId="ADAL" clId="{48B824AD-1B2A-47A8-8D92-6FE6E622A650}" dt="2024-12-16T11:05:45.453" v="44454"/>
          <ac:spMkLst>
            <pc:docMk/>
            <pc:sldMk cId="4074781327" sldId="282"/>
            <ac:spMk id="12" creationId="{10FC18C1-2C7A-7170-F8C9-E2477CDD3BE4}"/>
          </ac:spMkLst>
        </pc:spChg>
        <pc:spChg chg="mod">
          <ac:chgData name="Oğuz Öztekin" userId="33c0df0f-d5fe-4bda-8f43-141ad7af67e3" providerId="ADAL" clId="{48B824AD-1B2A-47A8-8D92-6FE6E622A650}" dt="2024-12-16T11:05:45.447" v="44434"/>
          <ac:spMkLst>
            <pc:docMk/>
            <pc:sldMk cId="4074781327" sldId="282"/>
            <ac:spMk id="13" creationId="{9D5555A2-46DA-5F3C-551E-5624FF84D3A9}"/>
          </ac:spMkLst>
        </pc:spChg>
        <pc:spChg chg="mod">
          <ac:chgData name="Oğuz Öztekin" userId="33c0df0f-d5fe-4bda-8f43-141ad7af67e3" providerId="ADAL" clId="{48B824AD-1B2A-47A8-8D92-6FE6E622A650}" dt="2024-12-16T11:05:45.448" v="44435"/>
          <ac:spMkLst>
            <pc:docMk/>
            <pc:sldMk cId="4074781327" sldId="282"/>
            <ac:spMk id="14" creationId="{EB9D5592-BF8E-5D18-70E3-12EB14B742A1}"/>
          </ac:spMkLst>
        </pc:spChg>
        <pc:spChg chg="mod">
          <ac:chgData name="Oğuz Öztekin" userId="33c0df0f-d5fe-4bda-8f43-141ad7af67e3" providerId="ADAL" clId="{48B824AD-1B2A-47A8-8D92-6FE6E622A650}" dt="2024-12-16T11:05:45.448" v="44436"/>
          <ac:spMkLst>
            <pc:docMk/>
            <pc:sldMk cId="4074781327" sldId="282"/>
            <ac:spMk id="15" creationId="{89E07A70-0384-4B03-06F6-C292D004509E}"/>
          </ac:spMkLst>
        </pc:spChg>
        <pc:spChg chg="mod">
          <ac:chgData name="Oğuz Öztekin" userId="33c0df0f-d5fe-4bda-8f43-141ad7af67e3" providerId="ADAL" clId="{48B824AD-1B2A-47A8-8D92-6FE6E622A650}" dt="2024-12-16T11:05:45.448" v="44437"/>
          <ac:spMkLst>
            <pc:docMk/>
            <pc:sldMk cId="4074781327" sldId="282"/>
            <ac:spMk id="16" creationId="{26C46F6A-F602-7E71-ED51-52E7749576E3}"/>
          </ac:spMkLst>
        </pc:spChg>
        <pc:spChg chg="mod">
          <ac:chgData name="Oğuz Öztekin" userId="33c0df0f-d5fe-4bda-8f43-141ad7af67e3" providerId="ADAL" clId="{48B824AD-1B2A-47A8-8D92-6FE6E622A650}" dt="2024-12-16T11:05:45.449" v="44438"/>
          <ac:spMkLst>
            <pc:docMk/>
            <pc:sldMk cId="4074781327" sldId="282"/>
            <ac:spMk id="17" creationId="{247344C4-26EB-33B2-D4B4-0751DB29F233}"/>
          </ac:spMkLst>
        </pc:spChg>
        <pc:spChg chg="mod">
          <ac:chgData name="Oğuz Öztekin" userId="33c0df0f-d5fe-4bda-8f43-141ad7af67e3" providerId="ADAL" clId="{48B824AD-1B2A-47A8-8D92-6FE6E622A650}" dt="2024-12-16T11:05:45.450" v="44443"/>
          <ac:spMkLst>
            <pc:docMk/>
            <pc:sldMk cId="4074781327" sldId="282"/>
            <ac:spMk id="18" creationId="{8F6AD5C7-A638-D5C5-A363-318B328936AC}"/>
          </ac:spMkLst>
        </pc:spChg>
        <pc:spChg chg="mod">
          <ac:chgData name="Oğuz Öztekin" userId="33c0df0f-d5fe-4bda-8f43-141ad7af67e3" providerId="ADAL" clId="{48B824AD-1B2A-47A8-8D92-6FE6E622A650}" dt="2024-12-16T11:05:45.450" v="44442"/>
          <ac:spMkLst>
            <pc:docMk/>
            <pc:sldMk cId="4074781327" sldId="282"/>
            <ac:spMk id="19" creationId="{1678829A-8528-700A-1D81-A87AA8E45FCE}"/>
          </ac:spMkLst>
        </pc:spChg>
        <pc:spChg chg="mod">
          <ac:chgData name="Oğuz Öztekin" userId="33c0df0f-d5fe-4bda-8f43-141ad7af67e3" providerId="ADAL" clId="{48B824AD-1B2A-47A8-8D92-6FE6E622A650}" dt="2024-12-16T11:05:45.450" v="44441"/>
          <ac:spMkLst>
            <pc:docMk/>
            <pc:sldMk cId="4074781327" sldId="282"/>
            <ac:spMk id="20" creationId="{24868D60-8117-A546-100E-5598B2250F65}"/>
          </ac:spMkLst>
        </pc:spChg>
        <pc:spChg chg="mod">
          <ac:chgData name="Oğuz Öztekin" userId="33c0df0f-d5fe-4bda-8f43-141ad7af67e3" providerId="ADAL" clId="{48B824AD-1B2A-47A8-8D92-6FE6E622A650}" dt="2024-12-16T11:05:45.449" v="44440"/>
          <ac:spMkLst>
            <pc:docMk/>
            <pc:sldMk cId="4074781327" sldId="282"/>
            <ac:spMk id="21" creationId="{ED2B0EA9-7D55-D349-F6A8-3B90E5E21975}"/>
          </ac:spMkLst>
        </pc:spChg>
        <pc:spChg chg="mod">
          <ac:chgData name="Oğuz Öztekin" userId="33c0df0f-d5fe-4bda-8f43-141ad7af67e3" providerId="ADAL" clId="{48B824AD-1B2A-47A8-8D92-6FE6E622A650}" dt="2024-12-16T11:05:45.449" v="44439"/>
          <ac:spMkLst>
            <pc:docMk/>
            <pc:sldMk cId="4074781327" sldId="282"/>
            <ac:spMk id="22" creationId="{2B09460D-771F-F59E-9700-9F51C1B0761E}"/>
          </ac:spMkLst>
        </pc:spChg>
        <pc:spChg chg="mod ord">
          <ac:chgData name="Oğuz Öztekin" userId="33c0df0f-d5fe-4bda-8f43-141ad7af67e3" providerId="ADAL" clId="{48B824AD-1B2A-47A8-8D92-6FE6E622A650}" dt="2024-12-16T11:05:45.454" v="44456"/>
          <ac:spMkLst>
            <pc:docMk/>
            <pc:sldMk cId="4074781327" sldId="282"/>
            <ac:spMk id="23" creationId="{0F957808-5E41-FE55-91EF-002E1676BB95}"/>
          </ac:spMkLst>
        </pc:spChg>
        <pc:spChg chg="add del mod modVis">
          <ac:chgData name="Oğuz Öztekin" userId="33c0df0f-d5fe-4bda-8f43-141ad7af67e3" providerId="ADAL" clId="{48B824AD-1B2A-47A8-8D92-6FE6E622A650}" dt="2024-12-16T11:02:33.253" v="32950"/>
          <ac:spMkLst>
            <pc:docMk/>
            <pc:sldMk cId="4074781327" sldId="282"/>
            <ac:spMk id="25" creationId="{80C4B48C-9087-A5F5-D825-0EE18FCEF46C}"/>
          </ac:spMkLst>
        </pc:spChg>
        <pc:spChg chg="add del mod modVis">
          <ac:chgData name="Oğuz Öztekin" userId="33c0df0f-d5fe-4bda-8f43-141ad7af67e3" providerId="ADAL" clId="{48B824AD-1B2A-47A8-8D92-6FE6E622A650}" dt="2024-12-16T11:02:35.828" v="33058"/>
          <ac:spMkLst>
            <pc:docMk/>
            <pc:sldMk cId="4074781327" sldId="282"/>
            <ac:spMk id="27" creationId="{51A0171E-75AC-3691-B808-395B5B3E01C7}"/>
          </ac:spMkLst>
        </pc:spChg>
        <pc:spChg chg="add del mod modVis">
          <ac:chgData name="Oğuz Öztekin" userId="33c0df0f-d5fe-4bda-8f43-141ad7af67e3" providerId="ADAL" clId="{48B824AD-1B2A-47A8-8D92-6FE6E622A650}" dt="2024-12-16T11:02:46.957" v="33297"/>
          <ac:spMkLst>
            <pc:docMk/>
            <pc:sldMk cId="4074781327" sldId="282"/>
            <ac:spMk id="29" creationId="{8E8A6E70-513E-3454-1F9A-2434CCF88227}"/>
          </ac:spMkLst>
        </pc:spChg>
        <pc:spChg chg="mod">
          <ac:chgData name="Oğuz Öztekin" userId="33c0df0f-d5fe-4bda-8f43-141ad7af67e3" providerId="ADAL" clId="{48B824AD-1B2A-47A8-8D92-6FE6E622A650}" dt="2024-12-16T11:05:45.438" v="44392"/>
          <ac:spMkLst>
            <pc:docMk/>
            <pc:sldMk cId="4074781327" sldId="282"/>
            <ac:spMk id="35" creationId="{F5842763-BD17-E9ED-BD9B-BD9C24B12B02}"/>
          </ac:spMkLst>
        </pc:spChg>
        <pc:spChg chg="mod">
          <ac:chgData name="Oğuz Öztekin" userId="33c0df0f-d5fe-4bda-8f43-141ad7af67e3" providerId="ADAL" clId="{48B824AD-1B2A-47A8-8D92-6FE6E622A650}" dt="2024-12-16T11:05:45.438" v="44393"/>
          <ac:spMkLst>
            <pc:docMk/>
            <pc:sldMk cId="4074781327" sldId="282"/>
            <ac:spMk id="36" creationId="{299A30A6-EB71-631A-A532-DC1B142F9D48}"/>
          </ac:spMkLst>
        </pc:spChg>
        <pc:spChg chg="mod">
          <ac:chgData name="Oğuz Öztekin" userId="33c0df0f-d5fe-4bda-8f43-141ad7af67e3" providerId="ADAL" clId="{48B824AD-1B2A-47A8-8D92-6FE6E622A650}" dt="2024-12-16T11:05:45.438" v="44394"/>
          <ac:spMkLst>
            <pc:docMk/>
            <pc:sldMk cId="4074781327" sldId="282"/>
            <ac:spMk id="37" creationId="{B9753055-C5C9-41BA-6C9B-07CAE3C2555E}"/>
          </ac:spMkLst>
        </pc:spChg>
        <pc:spChg chg="add del mod modVis">
          <ac:chgData name="Oğuz Öztekin" userId="33c0df0f-d5fe-4bda-8f43-141ad7af67e3" providerId="ADAL" clId="{48B824AD-1B2A-47A8-8D92-6FE6E622A650}" dt="2024-12-16T11:02:49.627" v="33939"/>
          <ac:spMkLst>
            <pc:docMk/>
            <pc:sldMk cId="4074781327" sldId="282"/>
            <ac:spMk id="39" creationId="{CEDFAAB1-4D18-1612-D754-6AFDC570B5CE}"/>
          </ac:spMkLst>
        </pc:spChg>
        <pc:spChg chg="add del mod">
          <ac:chgData name="Oğuz Öztekin" userId="33c0df0f-d5fe-4bda-8f43-141ad7af67e3" providerId="ADAL" clId="{48B824AD-1B2A-47A8-8D92-6FE6E622A650}" dt="2024-12-16T11:02:51.674" v="33942"/>
          <ac:spMkLst>
            <pc:docMk/>
            <pc:sldMk cId="4074781327" sldId="282"/>
            <ac:spMk id="40" creationId="{B58C865D-8EE4-871E-563B-ADBBF65A3FD3}"/>
          </ac:spMkLst>
        </pc:spChg>
        <pc:spChg chg="add del mod">
          <ac:chgData name="Oğuz Öztekin" userId="33c0df0f-d5fe-4bda-8f43-141ad7af67e3" providerId="ADAL" clId="{48B824AD-1B2A-47A8-8D92-6FE6E622A650}" dt="2024-12-16T11:02:51.675" v="33943"/>
          <ac:spMkLst>
            <pc:docMk/>
            <pc:sldMk cId="4074781327" sldId="282"/>
            <ac:spMk id="41" creationId="{53060211-F8C0-92DD-D15F-63076FE2A509}"/>
          </ac:spMkLst>
        </pc:spChg>
        <pc:spChg chg="add del mod">
          <ac:chgData name="Oğuz Öztekin" userId="33c0df0f-d5fe-4bda-8f43-141ad7af67e3" providerId="ADAL" clId="{48B824AD-1B2A-47A8-8D92-6FE6E622A650}" dt="2024-12-16T11:02:51.675" v="33944"/>
          <ac:spMkLst>
            <pc:docMk/>
            <pc:sldMk cId="4074781327" sldId="282"/>
            <ac:spMk id="42" creationId="{5A2C2AF8-5FB1-9E7C-2425-0570F2CC2881}"/>
          </ac:spMkLst>
        </pc:spChg>
        <pc:spChg chg="add del mod">
          <ac:chgData name="Oğuz Öztekin" userId="33c0df0f-d5fe-4bda-8f43-141ad7af67e3" providerId="ADAL" clId="{48B824AD-1B2A-47A8-8D92-6FE6E622A650}" dt="2024-12-16T11:02:51.676" v="33945"/>
          <ac:spMkLst>
            <pc:docMk/>
            <pc:sldMk cId="4074781327" sldId="282"/>
            <ac:spMk id="43" creationId="{AC7C9B31-DEE4-C180-CEEB-0F77B6E6D5EB}"/>
          </ac:spMkLst>
        </pc:spChg>
        <pc:spChg chg="add del mod">
          <ac:chgData name="Oğuz Öztekin" userId="33c0df0f-d5fe-4bda-8f43-141ad7af67e3" providerId="ADAL" clId="{48B824AD-1B2A-47A8-8D92-6FE6E622A650}" dt="2024-12-16T11:02:51.676" v="33946"/>
          <ac:spMkLst>
            <pc:docMk/>
            <pc:sldMk cId="4074781327" sldId="282"/>
            <ac:spMk id="44" creationId="{F84B8113-6344-87C9-80A5-1C94AECDF25B}"/>
          </ac:spMkLst>
        </pc:spChg>
        <pc:spChg chg="add del mod">
          <ac:chgData name="Oğuz Öztekin" userId="33c0df0f-d5fe-4bda-8f43-141ad7af67e3" providerId="ADAL" clId="{48B824AD-1B2A-47A8-8D92-6FE6E622A650}" dt="2024-12-16T11:02:51.676" v="33947"/>
          <ac:spMkLst>
            <pc:docMk/>
            <pc:sldMk cId="4074781327" sldId="282"/>
            <ac:spMk id="45" creationId="{58551E32-6545-FF47-1002-663FC502C502}"/>
          </ac:spMkLst>
        </pc:spChg>
        <pc:spChg chg="add del mod">
          <ac:chgData name="Oğuz Öztekin" userId="33c0df0f-d5fe-4bda-8f43-141ad7af67e3" providerId="ADAL" clId="{48B824AD-1B2A-47A8-8D92-6FE6E622A650}" dt="2024-12-16T11:02:51.677" v="33948"/>
          <ac:spMkLst>
            <pc:docMk/>
            <pc:sldMk cId="4074781327" sldId="282"/>
            <ac:spMk id="46" creationId="{8BFFC2D5-BEB1-4556-01CA-335EE9DBC997}"/>
          </ac:spMkLst>
        </pc:spChg>
        <pc:spChg chg="add del mod">
          <ac:chgData name="Oğuz Öztekin" userId="33c0df0f-d5fe-4bda-8f43-141ad7af67e3" providerId="ADAL" clId="{48B824AD-1B2A-47A8-8D92-6FE6E622A650}" dt="2024-12-16T11:02:51.677" v="33949"/>
          <ac:spMkLst>
            <pc:docMk/>
            <pc:sldMk cId="4074781327" sldId="282"/>
            <ac:spMk id="47" creationId="{49928214-5A47-FFCC-77EF-0EF81BAD2803}"/>
          </ac:spMkLst>
        </pc:spChg>
        <pc:spChg chg="add del mod">
          <ac:chgData name="Oğuz Öztekin" userId="33c0df0f-d5fe-4bda-8f43-141ad7af67e3" providerId="ADAL" clId="{48B824AD-1B2A-47A8-8D92-6FE6E622A650}" dt="2024-12-16T11:02:51.677" v="33950"/>
          <ac:spMkLst>
            <pc:docMk/>
            <pc:sldMk cId="4074781327" sldId="282"/>
            <ac:spMk id="48" creationId="{B9DF22C3-EA1E-0480-AC83-412227187BF8}"/>
          </ac:spMkLst>
        </pc:spChg>
        <pc:spChg chg="add del mod">
          <ac:chgData name="Oğuz Öztekin" userId="33c0df0f-d5fe-4bda-8f43-141ad7af67e3" providerId="ADAL" clId="{48B824AD-1B2A-47A8-8D92-6FE6E622A650}" dt="2024-12-16T11:02:51.678" v="33951"/>
          <ac:spMkLst>
            <pc:docMk/>
            <pc:sldMk cId="4074781327" sldId="282"/>
            <ac:spMk id="49" creationId="{D1F4658A-1489-C75E-3F5E-A59FE9B88079}"/>
          </ac:spMkLst>
        </pc:spChg>
        <pc:spChg chg="del mod">
          <ac:chgData name="Oğuz Öztekin" userId="33c0df0f-d5fe-4bda-8f43-141ad7af67e3" providerId="ADAL" clId="{48B824AD-1B2A-47A8-8D92-6FE6E622A650}" dt="2024-12-16T11:02:49.177" v="33313"/>
          <ac:spMkLst>
            <pc:docMk/>
            <pc:sldMk cId="4074781327" sldId="282"/>
            <ac:spMk id="51" creationId="{2F0F08FD-9292-E17D-A5FE-76D58061CE53}"/>
          </ac:spMkLst>
        </pc:spChg>
        <pc:spChg chg="del mod">
          <ac:chgData name="Oğuz Öztekin" userId="33c0df0f-d5fe-4bda-8f43-141ad7af67e3" providerId="ADAL" clId="{48B824AD-1B2A-47A8-8D92-6FE6E622A650}" dt="2024-12-16T11:02:49.176" v="33312"/>
          <ac:spMkLst>
            <pc:docMk/>
            <pc:sldMk cId="4074781327" sldId="282"/>
            <ac:spMk id="52" creationId="{5DCD685C-B413-E250-8308-05261AAFA53D}"/>
          </ac:spMkLst>
        </pc:spChg>
        <pc:spChg chg="add del mod modVis">
          <ac:chgData name="Oğuz Öztekin" userId="33c0df0f-d5fe-4bda-8f43-141ad7af67e3" providerId="ADAL" clId="{48B824AD-1B2A-47A8-8D92-6FE6E622A650}" dt="2024-12-16T11:02:51.787" v="34145"/>
          <ac:spMkLst>
            <pc:docMk/>
            <pc:sldMk cId="4074781327" sldId="282"/>
            <ac:spMk id="54" creationId="{77332B64-5B2F-7DEE-8E2D-81389A6C3CCC}"/>
          </ac:spMkLst>
        </pc:spChg>
        <pc:spChg chg="add del mod modVis">
          <ac:chgData name="Oğuz Öztekin" userId="33c0df0f-d5fe-4bda-8f43-141ad7af67e3" providerId="ADAL" clId="{48B824AD-1B2A-47A8-8D92-6FE6E622A650}" dt="2024-12-16T11:02:54.335" v="34315"/>
          <ac:spMkLst>
            <pc:docMk/>
            <pc:sldMk cId="4074781327" sldId="282"/>
            <ac:spMk id="56" creationId="{3EE1C693-57AE-D061-4D2F-A98D530FCC50}"/>
          </ac:spMkLst>
        </pc:spChg>
        <pc:spChg chg="add del mod modVis">
          <ac:chgData name="Oğuz Öztekin" userId="33c0df0f-d5fe-4bda-8f43-141ad7af67e3" providerId="ADAL" clId="{48B824AD-1B2A-47A8-8D92-6FE6E622A650}" dt="2024-12-16T11:02:57.417" v="34960"/>
          <ac:spMkLst>
            <pc:docMk/>
            <pc:sldMk cId="4074781327" sldId="282"/>
            <ac:spMk id="58" creationId="{C0F421D9-4533-8493-2C14-01CEF3A132A1}"/>
          </ac:spMkLst>
        </pc:spChg>
        <pc:spChg chg="add del mod">
          <ac:chgData name="Oğuz Öztekin" userId="33c0df0f-d5fe-4bda-8f43-141ad7af67e3" providerId="ADAL" clId="{48B824AD-1B2A-47A8-8D92-6FE6E622A650}" dt="2024-12-16T11:02:57.913" v="35037"/>
          <ac:spMkLst>
            <pc:docMk/>
            <pc:sldMk cId="4074781327" sldId="282"/>
            <ac:spMk id="59" creationId="{6011D0B2-422B-7B0B-7AA3-4827CE320985}"/>
          </ac:spMkLst>
        </pc:spChg>
        <pc:spChg chg="add del mod">
          <ac:chgData name="Oğuz Öztekin" userId="33c0df0f-d5fe-4bda-8f43-141ad7af67e3" providerId="ADAL" clId="{48B824AD-1B2A-47A8-8D92-6FE6E622A650}" dt="2024-12-16T11:02:57.914" v="35038"/>
          <ac:spMkLst>
            <pc:docMk/>
            <pc:sldMk cId="4074781327" sldId="282"/>
            <ac:spMk id="60" creationId="{4B30F1A6-36B2-8F93-B052-5A696AD5C45A}"/>
          </ac:spMkLst>
        </pc:spChg>
        <pc:spChg chg="add del mod">
          <ac:chgData name="Oğuz Öztekin" userId="33c0df0f-d5fe-4bda-8f43-141ad7af67e3" providerId="ADAL" clId="{48B824AD-1B2A-47A8-8D92-6FE6E622A650}" dt="2024-12-16T11:02:57.914" v="35039"/>
          <ac:spMkLst>
            <pc:docMk/>
            <pc:sldMk cId="4074781327" sldId="282"/>
            <ac:spMk id="61" creationId="{D6F53700-6614-EFD6-0E32-DAE9E5E51CA6}"/>
          </ac:spMkLst>
        </pc:spChg>
        <pc:spChg chg="add del mod">
          <ac:chgData name="Oğuz Öztekin" userId="33c0df0f-d5fe-4bda-8f43-141ad7af67e3" providerId="ADAL" clId="{48B824AD-1B2A-47A8-8D92-6FE6E622A650}" dt="2024-12-16T11:02:57.915" v="35040"/>
          <ac:spMkLst>
            <pc:docMk/>
            <pc:sldMk cId="4074781327" sldId="282"/>
            <ac:spMk id="62" creationId="{5DAB879B-080D-95AE-0595-0737C9D383A1}"/>
          </ac:spMkLst>
        </pc:spChg>
        <pc:spChg chg="add del mod">
          <ac:chgData name="Oğuz Öztekin" userId="33c0df0f-d5fe-4bda-8f43-141ad7af67e3" providerId="ADAL" clId="{48B824AD-1B2A-47A8-8D92-6FE6E622A650}" dt="2024-12-16T11:02:57.915" v="35041"/>
          <ac:spMkLst>
            <pc:docMk/>
            <pc:sldMk cId="4074781327" sldId="282"/>
            <ac:spMk id="63" creationId="{8EB20480-4265-EB85-0768-34EA664668A1}"/>
          </ac:spMkLst>
        </pc:spChg>
        <pc:spChg chg="add del mod">
          <ac:chgData name="Oğuz Öztekin" userId="33c0df0f-d5fe-4bda-8f43-141ad7af67e3" providerId="ADAL" clId="{48B824AD-1B2A-47A8-8D92-6FE6E622A650}" dt="2024-12-16T11:02:57.915" v="35042"/>
          <ac:spMkLst>
            <pc:docMk/>
            <pc:sldMk cId="4074781327" sldId="282"/>
            <ac:spMk id="64" creationId="{9BFFB7A6-2F2F-18DA-A739-77A364035368}"/>
          </ac:spMkLst>
        </pc:spChg>
        <pc:spChg chg="add del mod">
          <ac:chgData name="Oğuz Öztekin" userId="33c0df0f-d5fe-4bda-8f43-141ad7af67e3" providerId="ADAL" clId="{48B824AD-1B2A-47A8-8D92-6FE6E622A650}" dt="2024-12-16T11:02:57.916" v="35043"/>
          <ac:spMkLst>
            <pc:docMk/>
            <pc:sldMk cId="4074781327" sldId="282"/>
            <ac:spMk id="65" creationId="{1B1DAE92-7C51-B5AD-B9CC-545FECF0635E}"/>
          </ac:spMkLst>
        </pc:spChg>
        <pc:spChg chg="add del mod">
          <ac:chgData name="Oğuz Öztekin" userId="33c0df0f-d5fe-4bda-8f43-141ad7af67e3" providerId="ADAL" clId="{48B824AD-1B2A-47A8-8D92-6FE6E622A650}" dt="2024-12-16T11:02:57.916" v="35044"/>
          <ac:spMkLst>
            <pc:docMk/>
            <pc:sldMk cId="4074781327" sldId="282"/>
            <ac:spMk id="66" creationId="{339285F6-2819-298A-0E30-1E53674821EF}"/>
          </ac:spMkLst>
        </pc:spChg>
        <pc:spChg chg="add del mod">
          <ac:chgData name="Oğuz Öztekin" userId="33c0df0f-d5fe-4bda-8f43-141ad7af67e3" providerId="ADAL" clId="{48B824AD-1B2A-47A8-8D92-6FE6E622A650}" dt="2024-12-16T11:02:57.916" v="35045"/>
          <ac:spMkLst>
            <pc:docMk/>
            <pc:sldMk cId="4074781327" sldId="282"/>
            <ac:spMk id="67" creationId="{8F0CB622-C1C2-DF20-28DD-F13EC0E193BB}"/>
          </ac:spMkLst>
        </pc:spChg>
        <pc:spChg chg="add del mod">
          <ac:chgData name="Oğuz Öztekin" userId="33c0df0f-d5fe-4bda-8f43-141ad7af67e3" providerId="ADAL" clId="{48B824AD-1B2A-47A8-8D92-6FE6E622A650}" dt="2024-12-16T11:02:57.917" v="35046"/>
          <ac:spMkLst>
            <pc:docMk/>
            <pc:sldMk cId="4074781327" sldId="282"/>
            <ac:spMk id="68" creationId="{299640F6-E16B-D862-9F46-135781F184DD}"/>
          </ac:spMkLst>
        </pc:spChg>
        <pc:spChg chg="add del mod modVis">
          <ac:chgData name="Oğuz Öztekin" userId="33c0df0f-d5fe-4bda-8f43-141ad7af67e3" providerId="ADAL" clId="{48B824AD-1B2A-47A8-8D92-6FE6E622A650}" dt="2024-12-16T11:02:57.964" v="35144"/>
          <ac:spMkLst>
            <pc:docMk/>
            <pc:sldMk cId="4074781327" sldId="282"/>
            <ac:spMk id="70" creationId="{164560C4-9119-0505-771A-072FA87D604A}"/>
          </ac:spMkLst>
        </pc:spChg>
        <pc:spChg chg="mod ord">
          <ac:chgData name="Oğuz Öztekin" userId="33c0df0f-d5fe-4bda-8f43-141ad7af67e3" providerId="ADAL" clId="{48B824AD-1B2A-47A8-8D92-6FE6E622A650}" dt="2024-12-16T11:05:45.441" v="44404"/>
          <ac:spMkLst>
            <pc:docMk/>
            <pc:sldMk cId="4074781327" sldId="282"/>
            <ac:spMk id="72" creationId="{49FE0814-BC2A-C533-BFC5-BA6A8B44DC4A}"/>
          </ac:spMkLst>
        </pc:spChg>
        <pc:spChg chg="add del mod modVis">
          <ac:chgData name="Oğuz Öztekin" userId="33c0df0f-d5fe-4bda-8f43-141ad7af67e3" providerId="ADAL" clId="{48B824AD-1B2A-47A8-8D92-6FE6E622A650}" dt="2024-12-16T11:03:03.983" v="35272"/>
          <ac:spMkLst>
            <pc:docMk/>
            <pc:sldMk cId="4074781327" sldId="282"/>
            <ac:spMk id="76" creationId="{A2C983EE-1C30-B8A6-254D-5B3D48B09AC5}"/>
          </ac:spMkLst>
        </pc:spChg>
        <pc:spChg chg="add del mod modVis">
          <ac:chgData name="Oğuz Öztekin" userId="33c0df0f-d5fe-4bda-8f43-141ad7af67e3" providerId="ADAL" clId="{48B824AD-1B2A-47A8-8D92-6FE6E622A650}" dt="2024-12-16T11:03:10.594" v="35400"/>
          <ac:spMkLst>
            <pc:docMk/>
            <pc:sldMk cId="4074781327" sldId="282"/>
            <ac:spMk id="78" creationId="{614DDB4B-DB97-55B6-2E07-744B4BD266B8}"/>
          </ac:spMkLst>
        </pc:spChg>
        <pc:spChg chg="add del mod modVis">
          <ac:chgData name="Oğuz Öztekin" userId="33c0df0f-d5fe-4bda-8f43-141ad7af67e3" providerId="ADAL" clId="{48B824AD-1B2A-47A8-8D92-6FE6E622A650}" dt="2024-12-16T11:03:12.696" v="35564"/>
          <ac:spMkLst>
            <pc:docMk/>
            <pc:sldMk cId="4074781327" sldId="282"/>
            <ac:spMk id="80" creationId="{2F622512-4324-44C7-88E9-80CB3AC29055}"/>
          </ac:spMkLst>
        </pc:spChg>
        <pc:spChg chg="add del mod">
          <ac:chgData name="Oğuz Öztekin" userId="33c0df0f-d5fe-4bda-8f43-141ad7af67e3" providerId="ADAL" clId="{48B824AD-1B2A-47A8-8D92-6FE6E622A650}" dt="2024-12-16T11:03:15.231" v="35719"/>
          <ac:spMkLst>
            <pc:docMk/>
            <pc:sldMk cId="4074781327" sldId="282"/>
            <ac:spMk id="81" creationId="{384C2C88-E6D3-B340-BAD5-D800EAF53262}"/>
          </ac:spMkLst>
        </pc:spChg>
        <pc:spChg chg="add del mod modVis">
          <ac:chgData name="Oğuz Öztekin" userId="33c0df0f-d5fe-4bda-8f43-141ad7af67e3" providerId="ADAL" clId="{48B824AD-1B2A-47A8-8D92-6FE6E622A650}" dt="2024-12-16T11:03:14.380" v="35672"/>
          <ac:spMkLst>
            <pc:docMk/>
            <pc:sldMk cId="4074781327" sldId="282"/>
            <ac:spMk id="83" creationId="{9DCF4162-16F2-3AC9-8DBA-E62AE1E5514E}"/>
          </ac:spMkLst>
        </pc:spChg>
        <pc:spChg chg="add del mod modVis">
          <ac:chgData name="Oğuz Öztekin" userId="33c0df0f-d5fe-4bda-8f43-141ad7af67e3" providerId="ADAL" clId="{48B824AD-1B2A-47A8-8D92-6FE6E622A650}" dt="2024-12-16T11:03:15.310" v="35854"/>
          <ac:spMkLst>
            <pc:docMk/>
            <pc:sldMk cId="4074781327" sldId="282"/>
            <ac:spMk id="85" creationId="{B2B72250-5C58-F327-BF4B-3A7A2998400E}"/>
          </ac:spMkLst>
        </pc:spChg>
        <pc:spChg chg="mod">
          <ac:chgData name="Oğuz Öztekin" userId="33c0df0f-d5fe-4bda-8f43-141ad7af67e3" providerId="ADAL" clId="{48B824AD-1B2A-47A8-8D92-6FE6E622A650}" dt="2024-12-16T11:05:45.439" v="44395"/>
          <ac:spMkLst>
            <pc:docMk/>
            <pc:sldMk cId="4074781327" sldId="282"/>
            <ac:spMk id="86" creationId="{5B91B6A7-24F4-21AE-5638-F5D957F40BC8}"/>
          </ac:spMkLst>
        </pc:spChg>
        <pc:spChg chg="mod">
          <ac:chgData name="Oğuz Öztekin" userId="33c0df0f-d5fe-4bda-8f43-141ad7af67e3" providerId="ADAL" clId="{48B824AD-1B2A-47A8-8D92-6FE6E622A650}" dt="2024-12-16T11:05:45.439" v="44396"/>
          <ac:spMkLst>
            <pc:docMk/>
            <pc:sldMk cId="4074781327" sldId="282"/>
            <ac:spMk id="87" creationId="{12A7A726-9E0C-E2A6-E28E-C2D12119382A}"/>
          </ac:spMkLst>
        </pc:spChg>
        <pc:spChg chg="mod">
          <ac:chgData name="Oğuz Öztekin" userId="33c0df0f-d5fe-4bda-8f43-141ad7af67e3" providerId="ADAL" clId="{48B824AD-1B2A-47A8-8D92-6FE6E622A650}" dt="2024-12-16T11:05:45.439" v="44397"/>
          <ac:spMkLst>
            <pc:docMk/>
            <pc:sldMk cId="4074781327" sldId="282"/>
            <ac:spMk id="88" creationId="{376FCE5C-FD68-2523-A93B-ED14B229FEFB}"/>
          </ac:spMkLst>
        </pc:spChg>
        <pc:spChg chg="mod">
          <ac:chgData name="Oğuz Öztekin" userId="33c0df0f-d5fe-4bda-8f43-141ad7af67e3" providerId="ADAL" clId="{48B824AD-1B2A-47A8-8D92-6FE6E622A650}" dt="2024-12-16T11:05:45.440" v="44398"/>
          <ac:spMkLst>
            <pc:docMk/>
            <pc:sldMk cId="4074781327" sldId="282"/>
            <ac:spMk id="89" creationId="{15A6DFE4-32B0-DB61-26A6-6079F6FF0F68}"/>
          </ac:spMkLst>
        </pc:spChg>
        <pc:spChg chg="mod">
          <ac:chgData name="Oğuz Öztekin" userId="33c0df0f-d5fe-4bda-8f43-141ad7af67e3" providerId="ADAL" clId="{48B824AD-1B2A-47A8-8D92-6FE6E622A650}" dt="2024-12-16T11:05:45.440" v="44399"/>
          <ac:spMkLst>
            <pc:docMk/>
            <pc:sldMk cId="4074781327" sldId="282"/>
            <ac:spMk id="90" creationId="{8C548783-4FA3-D807-5501-548A7A753E00}"/>
          </ac:spMkLst>
        </pc:spChg>
        <pc:spChg chg="mod">
          <ac:chgData name="Oğuz Öztekin" userId="33c0df0f-d5fe-4bda-8f43-141ad7af67e3" providerId="ADAL" clId="{48B824AD-1B2A-47A8-8D92-6FE6E622A650}" dt="2024-12-16T11:05:45.440" v="44400"/>
          <ac:spMkLst>
            <pc:docMk/>
            <pc:sldMk cId="4074781327" sldId="282"/>
            <ac:spMk id="91" creationId="{683F8E8F-1C49-F211-9DE4-8976BD0B71F7}"/>
          </ac:spMkLst>
        </pc:spChg>
        <pc:spChg chg="mod">
          <ac:chgData name="Oğuz Öztekin" userId="33c0df0f-d5fe-4bda-8f43-141ad7af67e3" providerId="ADAL" clId="{48B824AD-1B2A-47A8-8D92-6FE6E622A650}" dt="2024-12-16T11:05:45.441" v="44401"/>
          <ac:spMkLst>
            <pc:docMk/>
            <pc:sldMk cId="4074781327" sldId="282"/>
            <ac:spMk id="92" creationId="{A50E769E-FE86-3420-EC6C-7B5699ED7591}"/>
          </ac:spMkLst>
        </pc:spChg>
        <pc:spChg chg="add del mod">
          <ac:chgData name="Oğuz Öztekin" userId="33c0df0f-d5fe-4bda-8f43-141ad7af67e3" providerId="ADAL" clId="{48B824AD-1B2A-47A8-8D92-6FE6E622A650}" dt="2024-12-16T11:03:18" v="36008"/>
          <ac:spMkLst>
            <pc:docMk/>
            <pc:sldMk cId="4074781327" sldId="282"/>
            <ac:spMk id="93" creationId="{90DECC42-149B-B7AC-E5DA-02931415ABDB}"/>
          </ac:spMkLst>
        </pc:spChg>
        <pc:spChg chg="add del mod modVis">
          <ac:chgData name="Oğuz Öztekin" userId="33c0df0f-d5fe-4bda-8f43-141ad7af67e3" providerId="ADAL" clId="{48B824AD-1B2A-47A8-8D92-6FE6E622A650}" dt="2024-12-16T11:03:16.771" v="35962"/>
          <ac:spMkLst>
            <pc:docMk/>
            <pc:sldMk cId="4074781327" sldId="282"/>
            <ac:spMk id="95" creationId="{BB4DBA19-0728-F508-4454-9AD3DE62AB2B}"/>
          </ac:spMkLst>
        </pc:spChg>
        <pc:spChg chg="add del mod modVis">
          <ac:chgData name="Oğuz Öztekin" userId="33c0df0f-d5fe-4bda-8f43-141ad7af67e3" providerId="ADAL" clId="{48B824AD-1B2A-47A8-8D92-6FE6E622A650}" dt="2024-12-16T11:03:18.076" v="36128"/>
          <ac:spMkLst>
            <pc:docMk/>
            <pc:sldMk cId="4074781327" sldId="282"/>
            <ac:spMk id="161" creationId="{A94159C4-8D28-7AAD-A01E-96EAB035C39F}"/>
          </ac:spMkLst>
        </pc:spChg>
        <pc:spChg chg="add del mod">
          <ac:chgData name="Oğuz Öztekin" userId="33c0df0f-d5fe-4bda-8f43-141ad7af67e3" providerId="ADAL" clId="{48B824AD-1B2A-47A8-8D92-6FE6E622A650}" dt="2024-12-16T11:03:21.356" v="36281"/>
          <ac:spMkLst>
            <pc:docMk/>
            <pc:sldMk cId="4074781327" sldId="282"/>
            <ac:spMk id="162" creationId="{AC109654-6235-3DA2-AEA3-4390DB044409}"/>
          </ac:spMkLst>
        </pc:spChg>
        <pc:spChg chg="mod ord">
          <ac:chgData name="Oğuz Öztekin" userId="33c0df0f-d5fe-4bda-8f43-141ad7af67e3" providerId="ADAL" clId="{48B824AD-1B2A-47A8-8D92-6FE6E622A650}" dt="2024-12-16T11:05:45.454" v="44458"/>
          <ac:spMkLst>
            <pc:docMk/>
            <pc:sldMk cId="4074781327" sldId="282"/>
            <ac:spMk id="163" creationId="{F6D1B44B-81B3-FB10-1130-25E1701DA79E}"/>
          </ac:spMkLst>
        </pc:spChg>
        <pc:spChg chg="add del mod modVis">
          <ac:chgData name="Oğuz Öztekin" userId="33c0df0f-d5fe-4bda-8f43-141ad7af67e3" providerId="ADAL" clId="{48B824AD-1B2A-47A8-8D92-6FE6E622A650}" dt="2024-12-16T11:03:19.625" v="36236"/>
          <ac:spMkLst>
            <pc:docMk/>
            <pc:sldMk cId="4074781327" sldId="282"/>
            <ac:spMk id="165" creationId="{4622CA05-19B0-6724-C03F-0ACA1CC0B095}"/>
          </ac:spMkLst>
        </pc:spChg>
        <pc:spChg chg="add del mod modVis">
          <ac:chgData name="Oğuz Öztekin" userId="33c0df0f-d5fe-4bda-8f43-141ad7af67e3" providerId="ADAL" clId="{48B824AD-1B2A-47A8-8D92-6FE6E622A650}" dt="2024-12-16T11:03:21.390" v="36345"/>
          <ac:spMkLst>
            <pc:docMk/>
            <pc:sldMk cId="4074781327" sldId="282"/>
            <ac:spMk id="167" creationId="{A3A2BF6F-0EE1-4993-A6E9-661AE55D01D2}"/>
          </ac:spMkLst>
        </pc:spChg>
        <pc:spChg chg="add del mod modVis">
          <ac:chgData name="Oğuz Öztekin" userId="33c0df0f-d5fe-4bda-8f43-141ad7af67e3" providerId="ADAL" clId="{48B824AD-1B2A-47A8-8D92-6FE6E622A650}" dt="2024-12-16T11:03:22.290" v="36509"/>
          <ac:spMkLst>
            <pc:docMk/>
            <pc:sldMk cId="4074781327" sldId="282"/>
            <ac:spMk id="170" creationId="{24CBFF89-0C47-D338-9B8A-8F333C1974B4}"/>
          </ac:spMkLst>
        </pc:spChg>
        <pc:spChg chg="add del mod">
          <ac:chgData name="Oğuz Öztekin" userId="33c0df0f-d5fe-4bda-8f43-141ad7af67e3" providerId="ADAL" clId="{48B824AD-1B2A-47A8-8D92-6FE6E622A650}" dt="2024-12-16T11:03:24.537" v="36661"/>
          <ac:spMkLst>
            <pc:docMk/>
            <pc:sldMk cId="4074781327" sldId="282"/>
            <ac:spMk id="171" creationId="{FB972B3A-4221-E3FE-1151-252581F15C3A}"/>
          </ac:spMkLst>
        </pc:spChg>
        <pc:spChg chg="add del mod modVis">
          <ac:chgData name="Oğuz Öztekin" userId="33c0df0f-d5fe-4bda-8f43-141ad7af67e3" providerId="ADAL" clId="{48B824AD-1B2A-47A8-8D92-6FE6E622A650}" dt="2024-12-16T11:03:23.594" v="36617"/>
          <ac:spMkLst>
            <pc:docMk/>
            <pc:sldMk cId="4074781327" sldId="282"/>
            <ac:spMk id="173" creationId="{533226E7-09BB-5064-8CF7-542619258379}"/>
          </ac:spMkLst>
        </pc:spChg>
        <pc:spChg chg="add del mod modVis">
          <ac:chgData name="Oğuz Öztekin" userId="33c0df0f-d5fe-4bda-8f43-141ad7af67e3" providerId="ADAL" clId="{48B824AD-1B2A-47A8-8D92-6FE6E622A650}" dt="2024-12-16T11:03:24.616" v="36783"/>
          <ac:spMkLst>
            <pc:docMk/>
            <pc:sldMk cId="4074781327" sldId="282"/>
            <ac:spMk id="175" creationId="{7FFD3F38-F4DE-D571-9E1E-211430834580}"/>
          </ac:spMkLst>
        </pc:spChg>
        <pc:spChg chg="add del mod">
          <ac:chgData name="Oğuz Öztekin" userId="33c0df0f-d5fe-4bda-8f43-141ad7af67e3" providerId="ADAL" clId="{48B824AD-1B2A-47A8-8D92-6FE6E622A650}" dt="2024-12-16T11:03:27.778" v="36934"/>
          <ac:spMkLst>
            <pc:docMk/>
            <pc:sldMk cId="4074781327" sldId="282"/>
            <ac:spMk id="176" creationId="{AC2B0741-32F2-789A-3111-9114887B7F48}"/>
          </ac:spMkLst>
        </pc:spChg>
        <pc:spChg chg="add del mod modVis">
          <ac:chgData name="Oğuz Öztekin" userId="33c0df0f-d5fe-4bda-8f43-141ad7af67e3" providerId="ADAL" clId="{48B824AD-1B2A-47A8-8D92-6FE6E622A650}" dt="2024-12-16T11:03:26.935" v="36891"/>
          <ac:spMkLst>
            <pc:docMk/>
            <pc:sldMk cId="4074781327" sldId="282"/>
            <ac:spMk id="179" creationId="{3B35DFC7-E5D4-C25B-5046-177064392684}"/>
          </ac:spMkLst>
        </pc:spChg>
        <pc:spChg chg="add del mod modVis">
          <ac:chgData name="Oğuz Öztekin" userId="33c0df0f-d5fe-4bda-8f43-141ad7af67e3" providerId="ADAL" clId="{48B824AD-1B2A-47A8-8D92-6FE6E622A650}" dt="2024-12-16T11:03:27.856" v="37057"/>
          <ac:spMkLst>
            <pc:docMk/>
            <pc:sldMk cId="4074781327" sldId="282"/>
            <ac:spMk id="181" creationId="{739FFB5E-74F8-6021-7B65-3430C360E9BF}"/>
          </ac:spMkLst>
        </pc:spChg>
        <pc:spChg chg="add del mod">
          <ac:chgData name="Oğuz Öztekin" userId="33c0df0f-d5fe-4bda-8f43-141ad7af67e3" providerId="ADAL" clId="{48B824AD-1B2A-47A8-8D92-6FE6E622A650}" dt="2024-12-16T11:03:32.370" v="37207"/>
          <ac:spMkLst>
            <pc:docMk/>
            <pc:sldMk cId="4074781327" sldId="282"/>
            <ac:spMk id="182" creationId="{5CA585F6-64BA-EFCE-513B-BDDA68FB9FD0}"/>
          </ac:spMkLst>
        </pc:spChg>
        <pc:spChg chg="add del mod modVis">
          <ac:chgData name="Oğuz Öztekin" userId="33c0df0f-d5fe-4bda-8f43-141ad7af67e3" providerId="ADAL" clId="{48B824AD-1B2A-47A8-8D92-6FE6E622A650}" dt="2024-12-16T11:03:29.400" v="37165"/>
          <ac:spMkLst>
            <pc:docMk/>
            <pc:sldMk cId="4074781327" sldId="282"/>
            <ac:spMk id="184" creationId="{E9EE21B8-AF1A-CB2E-CDCF-2DDF09C71142}"/>
          </ac:spMkLst>
        </pc:spChg>
        <pc:spChg chg="add del mod modVis">
          <ac:chgData name="Oğuz Öztekin" userId="33c0df0f-d5fe-4bda-8f43-141ad7af67e3" providerId="ADAL" clId="{48B824AD-1B2A-47A8-8D92-6FE6E622A650}" dt="2024-12-16T11:03:32.404" v="37270"/>
          <ac:spMkLst>
            <pc:docMk/>
            <pc:sldMk cId="4074781327" sldId="282"/>
            <ac:spMk id="186" creationId="{37812A60-9923-3E61-B946-BC8988728686}"/>
          </ac:spMkLst>
        </pc:spChg>
        <pc:spChg chg="add del mod modVis">
          <ac:chgData name="Oğuz Öztekin" userId="33c0df0f-d5fe-4bda-8f43-141ad7af67e3" providerId="ADAL" clId="{48B824AD-1B2A-47A8-8D92-6FE6E622A650}" dt="2024-12-16T11:03:35.081" v="37647"/>
          <ac:spMkLst>
            <pc:docMk/>
            <pc:sldMk cId="4074781327" sldId="282"/>
            <ac:spMk id="188" creationId="{682D5A3B-5EA4-DE8B-D5C8-E1AAC152B56D}"/>
          </ac:spMkLst>
        </pc:spChg>
        <pc:spChg chg="add mod">
          <ac:chgData name="Oğuz Öztekin" userId="33c0df0f-d5fe-4bda-8f43-141ad7af67e3" providerId="ADAL" clId="{48B824AD-1B2A-47A8-8D92-6FE6E622A650}" dt="2024-12-16T11:05:45.434" v="44377"/>
          <ac:spMkLst>
            <pc:docMk/>
            <pc:sldMk cId="4074781327" sldId="282"/>
            <ac:spMk id="189" creationId="{C76CD896-0E1A-3D53-745B-F0D8E0C469A2}"/>
          </ac:spMkLst>
        </pc:spChg>
        <pc:spChg chg="add mod">
          <ac:chgData name="Oğuz Öztekin" userId="33c0df0f-d5fe-4bda-8f43-141ad7af67e3" providerId="ADAL" clId="{48B824AD-1B2A-47A8-8D92-6FE6E622A650}" dt="2024-12-16T11:05:45.435" v="44378"/>
          <ac:spMkLst>
            <pc:docMk/>
            <pc:sldMk cId="4074781327" sldId="282"/>
            <ac:spMk id="190" creationId="{4182C714-DFCC-74E1-51C2-72BFBFF22910}"/>
          </ac:spMkLst>
        </pc:spChg>
        <pc:spChg chg="add mod">
          <ac:chgData name="Oğuz Öztekin" userId="33c0df0f-d5fe-4bda-8f43-141ad7af67e3" providerId="ADAL" clId="{48B824AD-1B2A-47A8-8D92-6FE6E622A650}" dt="2024-12-16T11:05:45.435" v="44379"/>
          <ac:spMkLst>
            <pc:docMk/>
            <pc:sldMk cId="4074781327" sldId="282"/>
            <ac:spMk id="191" creationId="{2D17B87C-81A7-4E09-84F8-A7B8608123CD}"/>
          </ac:spMkLst>
        </pc:spChg>
        <pc:spChg chg="add mod">
          <ac:chgData name="Oğuz Öztekin" userId="33c0df0f-d5fe-4bda-8f43-141ad7af67e3" providerId="ADAL" clId="{48B824AD-1B2A-47A8-8D92-6FE6E622A650}" dt="2024-12-16T11:05:45.435" v="44380"/>
          <ac:spMkLst>
            <pc:docMk/>
            <pc:sldMk cId="4074781327" sldId="282"/>
            <ac:spMk id="192" creationId="{FC970EE3-9902-FC13-75A5-0A04B78A3A9D}"/>
          </ac:spMkLst>
        </pc:spChg>
        <pc:spChg chg="add mod">
          <ac:chgData name="Oğuz Öztekin" userId="33c0df0f-d5fe-4bda-8f43-141ad7af67e3" providerId="ADAL" clId="{48B824AD-1B2A-47A8-8D92-6FE6E622A650}" dt="2024-12-16T11:05:45.436" v="44381"/>
          <ac:spMkLst>
            <pc:docMk/>
            <pc:sldMk cId="4074781327" sldId="282"/>
            <ac:spMk id="193" creationId="{30265C5A-37E6-113F-F4BF-0077EE144959}"/>
          </ac:spMkLst>
        </pc:spChg>
        <pc:spChg chg="add mod">
          <ac:chgData name="Oğuz Öztekin" userId="33c0df0f-d5fe-4bda-8f43-141ad7af67e3" providerId="ADAL" clId="{48B824AD-1B2A-47A8-8D92-6FE6E622A650}" dt="2024-12-16T11:05:45.436" v="44382"/>
          <ac:spMkLst>
            <pc:docMk/>
            <pc:sldMk cId="4074781327" sldId="282"/>
            <ac:spMk id="194" creationId="{E71DB78E-4EF8-85CE-8D51-459202858ACE}"/>
          </ac:spMkLst>
        </pc:spChg>
        <pc:spChg chg="add del mod modVis">
          <ac:chgData name="Oğuz Öztekin" userId="33c0df0f-d5fe-4bda-8f43-141ad7af67e3" providerId="ADAL" clId="{48B824AD-1B2A-47A8-8D92-6FE6E622A650}" dt="2024-12-16T11:03:38.836" v="38036"/>
          <ac:spMkLst>
            <pc:docMk/>
            <pc:sldMk cId="4074781327" sldId="282"/>
            <ac:spMk id="196" creationId="{DE1215DF-2074-0B40-3799-70E89344295C}"/>
          </ac:spMkLst>
        </pc:spChg>
        <pc:spChg chg="add del mod">
          <ac:chgData name="Oğuz Öztekin" userId="33c0df0f-d5fe-4bda-8f43-141ad7af67e3" providerId="ADAL" clId="{48B824AD-1B2A-47A8-8D92-6FE6E622A650}" dt="2024-12-16T11:03:55.511" v="38960"/>
          <ac:spMkLst>
            <pc:docMk/>
            <pc:sldMk cId="4074781327" sldId="282"/>
            <ac:spMk id="197" creationId="{A34A9097-9EFA-8A5D-5C16-F00C052225F5}"/>
          </ac:spMkLst>
        </pc:spChg>
        <pc:spChg chg="add del mod">
          <ac:chgData name="Oğuz Öztekin" userId="33c0df0f-d5fe-4bda-8f43-141ad7af67e3" providerId="ADAL" clId="{48B824AD-1B2A-47A8-8D92-6FE6E622A650}" dt="2024-12-16T11:03:54.577" v="38841"/>
          <ac:spMkLst>
            <pc:docMk/>
            <pc:sldMk cId="4074781327" sldId="282"/>
            <ac:spMk id="198" creationId="{8DF6ED3E-BC31-9AB0-97EB-02B024658CBF}"/>
          </ac:spMkLst>
        </pc:spChg>
        <pc:spChg chg="add del mod">
          <ac:chgData name="Oğuz Öztekin" userId="33c0df0f-d5fe-4bda-8f43-141ad7af67e3" providerId="ADAL" clId="{48B824AD-1B2A-47A8-8D92-6FE6E622A650}" dt="2024-12-16T11:03:53.639" v="38719"/>
          <ac:spMkLst>
            <pc:docMk/>
            <pc:sldMk cId="4074781327" sldId="282"/>
            <ac:spMk id="199" creationId="{7A586376-5FE9-208C-B5F6-CAF6DCAD7C1E}"/>
          </ac:spMkLst>
        </pc:spChg>
        <pc:spChg chg="add del mod">
          <ac:chgData name="Oğuz Öztekin" userId="33c0df0f-d5fe-4bda-8f43-141ad7af67e3" providerId="ADAL" clId="{48B824AD-1B2A-47A8-8D92-6FE6E622A650}" dt="2024-12-16T11:03:52.059" v="38595"/>
          <ac:spMkLst>
            <pc:docMk/>
            <pc:sldMk cId="4074781327" sldId="282"/>
            <ac:spMk id="200" creationId="{351025E7-E98F-69B6-B62D-1B0D0B4BE42B}"/>
          </ac:spMkLst>
        </pc:spChg>
        <pc:spChg chg="add del mod modVis">
          <ac:chgData name="Oğuz Öztekin" userId="33c0df0f-d5fe-4bda-8f43-141ad7af67e3" providerId="ADAL" clId="{48B824AD-1B2A-47A8-8D92-6FE6E622A650}" dt="2024-12-16T11:03:41.678" v="38301"/>
          <ac:spMkLst>
            <pc:docMk/>
            <pc:sldMk cId="4074781327" sldId="282"/>
            <ac:spMk id="202" creationId="{0B1E66BA-9F26-B1FB-20B9-FAF7E7FF5CEC}"/>
          </ac:spMkLst>
        </pc:spChg>
        <pc:spChg chg="add del mod modVis">
          <ac:chgData name="Oğuz Öztekin" userId="33c0df0f-d5fe-4bda-8f43-141ad7af67e3" providerId="ADAL" clId="{48B824AD-1B2A-47A8-8D92-6FE6E622A650}" dt="2024-12-16T11:03:42.898" v="38424"/>
          <ac:spMkLst>
            <pc:docMk/>
            <pc:sldMk cId="4074781327" sldId="282"/>
            <ac:spMk id="204" creationId="{65B1D16B-4EDF-C062-3B08-204E4A25754E}"/>
          </ac:spMkLst>
        </pc:spChg>
        <pc:spChg chg="add del mod modVis">
          <ac:chgData name="Oğuz Öztekin" userId="33c0df0f-d5fe-4bda-8f43-141ad7af67e3" providerId="ADAL" clId="{48B824AD-1B2A-47A8-8D92-6FE6E622A650}" dt="2024-12-16T11:03:50.675" v="38550"/>
          <ac:spMkLst>
            <pc:docMk/>
            <pc:sldMk cId="4074781327" sldId="282"/>
            <ac:spMk id="206" creationId="{066E5C26-E9CC-8065-18F4-A3549A77F358}"/>
          </ac:spMkLst>
        </pc:spChg>
        <pc:spChg chg="add del mod modVis">
          <ac:chgData name="Oğuz Öztekin" userId="33c0df0f-d5fe-4bda-8f43-141ad7af67e3" providerId="ADAL" clId="{48B824AD-1B2A-47A8-8D92-6FE6E622A650}" dt="2024-12-16T11:03:52.100" v="38676"/>
          <ac:spMkLst>
            <pc:docMk/>
            <pc:sldMk cId="4074781327" sldId="282"/>
            <ac:spMk id="208" creationId="{94002434-C383-2CEF-00EE-B8683B64E363}"/>
          </ac:spMkLst>
        </pc:spChg>
        <pc:spChg chg="add del mod modVis">
          <ac:chgData name="Oğuz Öztekin" userId="33c0df0f-d5fe-4bda-8f43-141ad7af67e3" providerId="ADAL" clId="{48B824AD-1B2A-47A8-8D92-6FE6E622A650}" dt="2024-12-16T11:03:53.680" v="38800"/>
          <ac:spMkLst>
            <pc:docMk/>
            <pc:sldMk cId="4074781327" sldId="282"/>
            <ac:spMk id="210" creationId="{5CF55B36-A4FD-6D8B-8E9D-21121572072C}"/>
          </ac:spMkLst>
        </pc:spChg>
        <pc:spChg chg="add del mod modVis">
          <ac:chgData name="Oğuz Öztekin" userId="33c0df0f-d5fe-4bda-8f43-141ad7af67e3" providerId="ADAL" clId="{48B824AD-1B2A-47A8-8D92-6FE6E622A650}" dt="2024-12-16T11:03:54.617" v="38922"/>
          <ac:spMkLst>
            <pc:docMk/>
            <pc:sldMk cId="4074781327" sldId="282"/>
            <ac:spMk id="212" creationId="{6E76CC07-22BF-60F4-0B1A-CF1CB1FDCDAD}"/>
          </ac:spMkLst>
        </pc:spChg>
        <pc:spChg chg="add del mod modVis">
          <ac:chgData name="Oğuz Öztekin" userId="33c0df0f-d5fe-4bda-8f43-141ad7af67e3" providerId="ADAL" clId="{48B824AD-1B2A-47A8-8D92-6FE6E622A650}" dt="2024-12-16T11:03:55.550" v="39039"/>
          <ac:spMkLst>
            <pc:docMk/>
            <pc:sldMk cId="4074781327" sldId="282"/>
            <ac:spMk id="214" creationId="{54AD188E-B81F-DFA6-DF4B-0748F5CD71FA}"/>
          </ac:spMkLst>
        </pc:spChg>
        <pc:spChg chg="add del mod modVis">
          <ac:chgData name="Oğuz Öztekin" userId="33c0df0f-d5fe-4bda-8f43-141ad7af67e3" providerId="ADAL" clId="{48B824AD-1B2A-47A8-8D92-6FE6E622A650}" dt="2024-12-16T11:04:12.137" v="39073"/>
          <ac:spMkLst>
            <pc:docMk/>
            <pc:sldMk cId="4074781327" sldId="282"/>
            <ac:spMk id="216" creationId="{16F5B6FF-ED93-3297-B1AC-9AB06DF11081}"/>
          </ac:spMkLst>
        </pc:spChg>
        <pc:spChg chg="add del mod modVis">
          <ac:chgData name="Oğuz Öztekin" userId="33c0df0f-d5fe-4bda-8f43-141ad7af67e3" providerId="ADAL" clId="{48B824AD-1B2A-47A8-8D92-6FE6E622A650}" dt="2024-12-16T11:04:15.547" v="39108"/>
          <ac:spMkLst>
            <pc:docMk/>
            <pc:sldMk cId="4074781327" sldId="282"/>
            <ac:spMk id="217" creationId="{1F98E906-3F7E-BAA7-AD2D-5593D5147496}"/>
          </ac:spMkLst>
        </pc:spChg>
        <pc:spChg chg="add del mod modVis">
          <ac:chgData name="Oğuz Öztekin" userId="33c0df0f-d5fe-4bda-8f43-141ad7af67e3" providerId="ADAL" clId="{48B824AD-1B2A-47A8-8D92-6FE6E622A650}" dt="2024-12-16T11:04:17.066" v="39136"/>
          <ac:spMkLst>
            <pc:docMk/>
            <pc:sldMk cId="4074781327" sldId="282"/>
            <ac:spMk id="218" creationId="{B7734087-672E-3302-FE4F-0A06084F69F3}"/>
          </ac:spMkLst>
        </pc:spChg>
        <pc:spChg chg="add del mod modVis">
          <ac:chgData name="Oğuz Öztekin" userId="33c0df0f-d5fe-4bda-8f43-141ad7af67e3" providerId="ADAL" clId="{48B824AD-1B2A-47A8-8D92-6FE6E622A650}" dt="2024-12-16T11:04:29.017" v="39370"/>
          <ac:spMkLst>
            <pc:docMk/>
            <pc:sldMk cId="4074781327" sldId="282"/>
            <ac:spMk id="219" creationId="{2982E9C9-5B22-D976-7180-07353E64475A}"/>
          </ac:spMkLst>
        </pc:spChg>
        <pc:spChg chg="add del mod modVis">
          <ac:chgData name="Oğuz Öztekin" userId="33c0df0f-d5fe-4bda-8f43-141ad7af67e3" providerId="ADAL" clId="{48B824AD-1B2A-47A8-8D92-6FE6E622A650}" dt="2024-12-16T11:04:33.939" v="39553"/>
          <ac:spMkLst>
            <pc:docMk/>
            <pc:sldMk cId="4074781327" sldId="282"/>
            <ac:spMk id="221" creationId="{6384151A-C5BB-EA0F-4685-CF0155440832}"/>
          </ac:spMkLst>
        </pc:spChg>
        <pc:spChg chg="add del mod modVis">
          <ac:chgData name="Oğuz Öztekin" userId="33c0df0f-d5fe-4bda-8f43-141ad7af67e3" providerId="ADAL" clId="{48B824AD-1B2A-47A8-8D92-6FE6E622A650}" dt="2024-12-16T11:04:36.590" v="39663"/>
          <ac:spMkLst>
            <pc:docMk/>
            <pc:sldMk cId="4074781327" sldId="282"/>
            <ac:spMk id="223" creationId="{7404AA6B-E0E8-1372-A3B2-A1F3B9A4AAE8}"/>
          </ac:spMkLst>
        </pc:spChg>
        <pc:spChg chg="add del mod modVis">
          <ac:chgData name="Oğuz Öztekin" userId="33c0df0f-d5fe-4bda-8f43-141ad7af67e3" providerId="ADAL" clId="{48B824AD-1B2A-47A8-8D92-6FE6E622A650}" dt="2024-12-16T11:04:48.662" v="39921"/>
          <ac:spMkLst>
            <pc:docMk/>
            <pc:sldMk cId="4074781327" sldId="282"/>
            <ac:spMk id="225" creationId="{E199D03D-5CDE-3407-408D-961880AEA5E7}"/>
          </ac:spMkLst>
        </pc:spChg>
        <pc:spChg chg="add del mod modVis">
          <ac:chgData name="Oğuz Öztekin" userId="33c0df0f-d5fe-4bda-8f43-141ad7af67e3" providerId="ADAL" clId="{48B824AD-1B2A-47A8-8D92-6FE6E622A650}" dt="2024-12-16T11:04:53.540" v="40068"/>
          <ac:spMkLst>
            <pc:docMk/>
            <pc:sldMk cId="4074781327" sldId="282"/>
            <ac:spMk id="233" creationId="{AC8AF383-2F69-4A09-20EA-AFC7F5490760}"/>
          </ac:spMkLst>
        </pc:spChg>
        <pc:spChg chg="add del mod modVis">
          <ac:chgData name="Oğuz Öztekin" userId="33c0df0f-d5fe-4bda-8f43-141ad7af67e3" providerId="ADAL" clId="{48B824AD-1B2A-47A8-8D92-6FE6E622A650}" dt="2024-12-16T11:04:56.855" v="40464"/>
          <ac:spMkLst>
            <pc:docMk/>
            <pc:sldMk cId="4074781327" sldId="282"/>
            <ac:spMk id="235" creationId="{B7A4B658-4E82-6A06-0A6E-A915D8200E5D}"/>
          </ac:spMkLst>
        </pc:spChg>
        <pc:spChg chg="add del mod">
          <ac:chgData name="Oğuz Öztekin" userId="33c0df0f-d5fe-4bda-8f43-141ad7af67e3" providerId="ADAL" clId="{48B824AD-1B2A-47A8-8D92-6FE6E622A650}" dt="2024-12-16T11:04:57.544" v="40517"/>
          <ac:spMkLst>
            <pc:docMk/>
            <pc:sldMk cId="4074781327" sldId="282"/>
            <ac:spMk id="236" creationId="{D8C26D89-95FE-0CEC-F295-9D184924150D}"/>
          </ac:spMkLst>
        </pc:spChg>
        <pc:spChg chg="add del mod">
          <ac:chgData name="Oğuz Öztekin" userId="33c0df0f-d5fe-4bda-8f43-141ad7af67e3" providerId="ADAL" clId="{48B824AD-1B2A-47A8-8D92-6FE6E622A650}" dt="2024-12-16T11:04:57.545" v="40518"/>
          <ac:spMkLst>
            <pc:docMk/>
            <pc:sldMk cId="4074781327" sldId="282"/>
            <ac:spMk id="237" creationId="{59E33AD8-3152-311A-5C80-AA8EDB4A51C0}"/>
          </ac:spMkLst>
        </pc:spChg>
        <pc:spChg chg="add del mod">
          <ac:chgData name="Oğuz Öztekin" userId="33c0df0f-d5fe-4bda-8f43-141ad7af67e3" providerId="ADAL" clId="{48B824AD-1B2A-47A8-8D92-6FE6E622A650}" dt="2024-12-16T11:04:57.545" v="40519"/>
          <ac:spMkLst>
            <pc:docMk/>
            <pc:sldMk cId="4074781327" sldId="282"/>
            <ac:spMk id="238" creationId="{9B4CE005-40FE-3793-79B8-7CA1D16678F3}"/>
          </ac:spMkLst>
        </pc:spChg>
        <pc:spChg chg="add del mod">
          <ac:chgData name="Oğuz Öztekin" userId="33c0df0f-d5fe-4bda-8f43-141ad7af67e3" providerId="ADAL" clId="{48B824AD-1B2A-47A8-8D92-6FE6E622A650}" dt="2024-12-16T11:04:57.545" v="40520"/>
          <ac:spMkLst>
            <pc:docMk/>
            <pc:sldMk cId="4074781327" sldId="282"/>
            <ac:spMk id="239" creationId="{7EC2CE41-DD38-2128-487F-E7F79F8F38B7}"/>
          </ac:spMkLst>
        </pc:spChg>
        <pc:spChg chg="add del mod">
          <ac:chgData name="Oğuz Öztekin" userId="33c0df0f-d5fe-4bda-8f43-141ad7af67e3" providerId="ADAL" clId="{48B824AD-1B2A-47A8-8D92-6FE6E622A650}" dt="2024-12-16T11:04:57.546" v="40521"/>
          <ac:spMkLst>
            <pc:docMk/>
            <pc:sldMk cId="4074781327" sldId="282"/>
            <ac:spMk id="240" creationId="{EC1359A3-0082-D453-2A6D-D21B10BFBAD3}"/>
          </ac:spMkLst>
        </pc:spChg>
        <pc:spChg chg="add del mod">
          <ac:chgData name="Oğuz Öztekin" userId="33c0df0f-d5fe-4bda-8f43-141ad7af67e3" providerId="ADAL" clId="{48B824AD-1B2A-47A8-8D92-6FE6E622A650}" dt="2024-12-16T11:04:57.547" v="40522"/>
          <ac:spMkLst>
            <pc:docMk/>
            <pc:sldMk cId="4074781327" sldId="282"/>
            <ac:spMk id="241" creationId="{405EFB34-06C8-5944-3827-8CE5CD327BF4}"/>
          </ac:spMkLst>
        </pc:spChg>
        <pc:spChg chg="add del mod modVis">
          <ac:chgData name="Oğuz Öztekin" userId="33c0df0f-d5fe-4bda-8f43-141ad7af67e3" providerId="ADAL" clId="{48B824AD-1B2A-47A8-8D92-6FE6E622A650}" dt="2024-12-16T11:04:57.597" v="40598"/>
          <ac:spMkLst>
            <pc:docMk/>
            <pc:sldMk cId="4074781327" sldId="282"/>
            <ac:spMk id="243" creationId="{73AA8DC3-0A22-41FB-4799-1A3A24F14D75}"/>
          </ac:spMkLst>
        </pc:spChg>
        <pc:spChg chg="add del mod modVis">
          <ac:chgData name="Oğuz Öztekin" userId="33c0df0f-d5fe-4bda-8f43-141ad7af67e3" providerId="ADAL" clId="{48B824AD-1B2A-47A8-8D92-6FE6E622A650}" dt="2024-12-16T11:05:00.111" v="40994"/>
          <ac:spMkLst>
            <pc:docMk/>
            <pc:sldMk cId="4074781327" sldId="282"/>
            <ac:spMk id="245" creationId="{0EF0FF7F-6B24-BB82-164D-1FB2ECCB1F77}"/>
          </ac:spMkLst>
        </pc:spChg>
        <pc:spChg chg="add mod">
          <ac:chgData name="Oğuz Öztekin" userId="33c0df0f-d5fe-4bda-8f43-141ad7af67e3" providerId="ADAL" clId="{48B824AD-1B2A-47A8-8D92-6FE6E622A650}" dt="2024-12-16T11:05:45.442" v="44408"/>
          <ac:spMkLst>
            <pc:docMk/>
            <pc:sldMk cId="4074781327" sldId="282"/>
            <ac:spMk id="246" creationId="{9B5B14ED-2D26-56ED-76F0-5573722F873A}"/>
          </ac:spMkLst>
        </pc:spChg>
        <pc:spChg chg="add mod">
          <ac:chgData name="Oğuz Öztekin" userId="33c0df0f-d5fe-4bda-8f43-141ad7af67e3" providerId="ADAL" clId="{48B824AD-1B2A-47A8-8D92-6FE6E622A650}" dt="2024-12-16T11:05:45.442" v="44407"/>
          <ac:spMkLst>
            <pc:docMk/>
            <pc:sldMk cId="4074781327" sldId="282"/>
            <ac:spMk id="247" creationId="{44A497C9-9A0F-9FCD-28AA-D30CC5DA1AEB}"/>
          </ac:spMkLst>
        </pc:spChg>
        <pc:spChg chg="add mod">
          <ac:chgData name="Oğuz Öztekin" userId="33c0df0f-d5fe-4bda-8f43-141ad7af67e3" providerId="ADAL" clId="{48B824AD-1B2A-47A8-8D92-6FE6E622A650}" dt="2024-12-16T11:05:45.443" v="44412"/>
          <ac:spMkLst>
            <pc:docMk/>
            <pc:sldMk cId="4074781327" sldId="282"/>
            <ac:spMk id="248" creationId="{EBD4604C-6BBF-A120-0FA7-FB2DB91E6CCC}"/>
          </ac:spMkLst>
        </pc:spChg>
        <pc:spChg chg="add mod">
          <ac:chgData name="Oğuz Öztekin" userId="33c0df0f-d5fe-4bda-8f43-141ad7af67e3" providerId="ADAL" clId="{48B824AD-1B2A-47A8-8D92-6FE6E622A650}" dt="2024-12-16T11:05:45.443" v="44411"/>
          <ac:spMkLst>
            <pc:docMk/>
            <pc:sldMk cId="4074781327" sldId="282"/>
            <ac:spMk id="249" creationId="{9319FBA3-6ACC-4F19-C7A1-06F9D76F5CEB}"/>
          </ac:spMkLst>
        </pc:spChg>
        <pc:spChg chg="add mod">
          <ac:chgData name="Oğuz Öztekin" userId="33c0df0f-d5fe-4bda-8f43-141ad7af67e3" providerId="ADAL" clId="{48B824AD-1B2A-47A8-8D92-6FE6E622A650}" dt="2024-12-16T11:05:45.443" v="44410"/>
          <ac:spMkLst>
            <pc:docMk/>
            <pc:sldMk cId="4074781327" sldId="282"/>
            <ac:spMk id="250" creationId="{80BEA3FB-5017-FC98-7A71-41C4CC9D5581}"/>
          </ac:spMkLst>
        </pc:spChg>
        <pc:spChg chg="add mod">
          <ac:chgData name="Oğuz Öztekin" userId="33c0df0f-d5fe-4bda-8f43-141ad7af67e3" providerId="ADAL" clId="{48B824AD-1B2A-47A8-8D92-6FE6E622A650}" dt="2024-12-16T11:05:45.442" v="44409"/>
          <ac:spMkLst>
            <pc:docMk/>
            <pc:sldMk cId="4074781327" sldId="282"/>
            <ac:spMk id="251" creationId="{B6FBCB18-B77E-1A83-005F-362BB0BCD146}"/>
          </ac:spMkLst>
        </pc:spChg>
        <pc:spChg chg="add del mod modVis">
          <ac:chgData name="Oğuz Öztekin" userId="33c0df0f-d5fe-4bda-8f43-141ad7af67e3" providerId="ADAL" clId="{48B824AD-1B2A-47A8-8D92-6FE6E622A650}" dt="2024-12-16T11:05:03.587" v="41728"/>
          <ac:spMkLst>
            <pc:docMk/>
            <pc:sldMk cId="4074781327" sldId="282"/>
            <ac:spMk id="253" creationId="{E5B149A7-8737-E0F7-BD9C-CD71DAA37656}"/>
          </ac:spMkLst>
        </pc:spChg>
        <pc:spChg chg="add mod">
          <ac:chgData name="Oğuz Öztekin" userId="33c0df0f-d5fe-4bda-8f43-141ad7af67e3" providerId="ADAL" clId="{48B824AD-1B2A-47A8-8D92-6FE6E622A650}" dt="2024-12-16T11:05:45.450" v="44444"/>
          <ac:spMkLst>
            <pc:docMk/>
            <pc:sldMk cId="4074781327" sldId="282"/>
            <ac:spMk id="254" creationId="{73F1AA74-22C3-3020-1A26-24A3E9063A03}"/>
          </ac:spMkLst>
        </pc:spChg>
        <pc:spChg chg="add mod">
          <ac:chgData name="Oğuz Öztekin" userId="33c0df0f-d5fe-4bda-8f43-141ad7af67e3" providerId="ADAL" clId="{48B824AD-1B2A-47A8-8D92-6FE6E622A650}" dt="2024-12-16T11:05:45.451" v="44445"/>
          <ac:spMkLst>
            <pc:docMk/>
            <pc:sldMk cId="4074781327" sldId="282"/>
            <ac:spMk id="255" creationId="{26B727E4-3C63-DFC9-8F37-BC56F281E908}"/>
          </ac:spMkLst>
        </pc:spChg>
        <pc:spChg chg="add mod">
          <ac:chgData name="Oğuz Öztekin" userId="33c0df0f-d5fe-4bda-8f43-141ad7af67e3" providerId="ADAL" clId="{48B824AD-1B2A-47A8-8D92-6FE6E622A650}" dt="2024-12-16T11:05:45.451" v="44446"/>
          <ac:spMkLst>
            <pc:docMk/>
            <pc:sldMk cId="4074781327" sldId="282"/>
            <ac:spMk id="256" creationId="{2C759D00-BB17-4971-2BF6-3F3749A4A8D5}"/>
          </ac:spMkLst>
        </pc:spChg>
        <pc:spChg chg="add mod">
          <ac:chgData name="Oğuz Öztekin" userId="33c0df0f-d5fe-4bda-8f43-141ad7af67e3" providerId="ADAL" clId="{48B824AD-1B2A-47A8-8D92-6FE6E622A650}" dt="2024-12-16T11:05:45.451" v="44447"/>
          <ac:spMkLst>
            <pc:docMk/>
            <pc:sldMk cId="4074781327" sldId="282"/>
            <ac:spMk id="257" creationId="{498D0B37-4CBB-D500-00C8-87C251FB97A9}"/>
          </ac:spMkLst>
        </pc:spChg>
        <pc:spChg chg="add mod">
          <ac:chgData name="Oğuz Öztekin" userId="33c0df0f-d5fe-4bda-8f43-141ad7af67e3" providerId="ADAL" clId="{48B824AD-1B2A-47A8-8D92-6FE6E622A650}" dt="2024-12-16T11:05:45.452" v="44448"/>
          <ac:spMkLst>
            <pc:docMk/>
            <pc:sldMk cId="4074781327" sldId="282"/>
            <ac:spMk id="258" creationId="{C4F9705D-F7B1-6D39-81E2-6A2666FB073A}"/>
          </ac:spMkLst>
        </pc:spChg>
        <pc:spChg chg="add mod">
          <ac:chgData name="Oğuz Öztekin" userId="33c0df0f-d5fe-4bda-8f43-141ad7af67e3" providerId="ADAL" clId="{48B824AD-1B2A-47A8-8D92-6FE6E622A650}" dt="2024-12-16T11:05:45.452" v="44449"/>
          <ac:spMkLst>
            <pc:docMk/>
            <pc:sldMk cId="4074781327" sldId="282"/>
            <ac:spMk id="259" creationId="{60CCAE66-519E-BA03-23AD-DD1828C61347}"/>
          </ac:spMkLst>
        </pc:spChg>
        <pc:spChg chg="add mod">
          <ac:chgData name="Oğuz Öztekin" userId="33c0df0f-d5fe-4bda-8f43-141ad7af67e3" providerId="ADAL" clId="{48B824AD-1B2A-47A8-8D92-6FE6E622A650}" dt="2024-12-16T11:05:45.452" v="44450"/>
          <ac:spMkLst>
            <pc:docMk/>
            <pc:sldMk cId="4074781327" sldId="282"/>
            <ac:spMk id="260" creationId="{221B9884-EBDC-14CC-6949-009A3D891C5B}"/>
          </ac:spMkLst>
        </pc:spChg>
        <pc:spChg chg="add mod">
          <ac:chgData name="Oğuz Öztekin" userId="33c0df0f-d5fe-4bda-8f43-141ad7af67e3" providerId="ADAL" clId="{48B824AD-1B2A-47A8-8D92-6FE6E622A650}" dt="2024-12-16T11:05:45.453" v="44451"/>
          <ac:spMkLst>
            <pc:docMk/>
            <pc:sldMk cId="4074781327" sldId="282"/>
            <ac:spMk id="261" creationId="{0D94AE4B-7DCC-95F8-3C53-5C5C3A66C1E2}"/>
          </ac:spMkLst>
        </pc:spChg>
        <pc:spChg chg="add mod">
          <ac:chgData name="Oğuz Öztekin" userId="33c0df0f-d5fe-4bda-8f43-141ad7af67e3" providerId="ADAL" clId="{48B824AD-1B2A-47A8-8D92-6FE6E622A650}" dt="2024-12-16T11:05:45.453" v="44452"/>
          <ac:spMkLst>
            <pc:docMk/>
            <pc:sldMk cId="4074781327" sldId="282"/>
            <ac:spMk id="262" creationId="{3F923C09-03ED-7224-CAEF-65EEEC72541F}"/>
          </ac:spMkLst>
        </pc:spChg>
        <pc:spChg chg="add mod">
          <ac:chgData name="Oğuz Öztekin" userId="33c0df0f-d5fe-4bda-8f43-141ad7af67e3" providerId="ADAL" clId="{48B824AD-1B2A-47A8-8D92-6FE6E622A650}" dt="2024-12-16T11:05:45.453" v="44453"/>
          <ac:spMkLst>
            <pc:docMk/>
            <pc:sldMk cId="4074781327" sldId="282"/>
            <ac:spMk id="263" creationId="{165C6966-3FE0-AEC8-8FA8-736D2AE85EE7}"/>
          </ac:spMkLst>
        </pc:spChg>
        <pc:spChg chg="add del mod modVis">
          <ac:chgData name="Oğuz Öztekin" userId="33c0df0f-d5fe-4bda-8f43-141ad7af67e3" providerId="ADAL" clId="{48B824AD-1B2A-47A8-8D92-6FE6E622A650}" dt="2024-12-16T11:05:08.112" v="42154"/>
          <ac:spMkLst>
            <pc:docMk/>
            <pc:sldMk cId="4074781327" sldId="282"/>
            <ac:spMk id="265" creationId="{9D0CF69C-D2A4-585B-BA82-DB2613F9B7FD}"/>
          </ac:spMkLst>
        </pc:spChg>
        <pc:spChg chg="add del mod modVis">
          <ac:chgData name="Oğuz Öztekin" userId="33c0df0f-d5fe-4bda-8f43-141ad7af67e3" providerId="ADAL" clId="{48B824AD-1B2A-47A8-8D92-6FE6E622A650}" dt="2024-12-16T11:05:11.067" v="42308"/>
          <ac:spMkLst>
            <pc:docMk/>
            <pc:sldMk cId="4074781327" sldId="282"/>
            <ac:spMk id="267" creationId="{C9F4E905-2CBE-25D2-D0E6-2670F9C492AA}"/>
          </ac:spMkLst>
        </pc:spChg>
        <pc:spChg chg="add del mod modVis">
          <ac:chgData name="Oğuz Öztekin" userId="33c0df0f-d5fe-4bda-8f43-141ad7af67e3" providerId="ADAL" clId="{48B824AD-1B2A-47A8-8D92-6FE6E622A650}" dt="2024-12-16T11:05:16.634" v="42732"/>
          <ac:spMkLst>
            <pc:docMk/>
            <pc:sldMk cId="4074781327" sldId="282"/>
            <ac:spMk id="269" creationId="{9CD40D30-3614-9EDD-CB68-2EAB6FD01769}"/>
          </ac:spMkLst>
        </pc:spChg>
        <pc:spChg chg="add del mod modVis">
          <ac:chgData name="Oğuz Öztekin" userId="33c0df0f-d5fe-4bda-8f43-141ad7af67e3" providerId="ADAL" clId="{48B824AD-1B2A-47A8-8D92-6FE6E622A650}" dt="2024-12-16T11:05:18.830" v="42884"/>
          <ac:spMkLst>
            <pc:docMk/>
            <pc:sldMk cId="4074781327" sldId="282"/>
            <ac:spMk id="271" creationId="{D2A9636F-E366-CD56-1240-E12195CA7C0B}"/>
          </ac:spMkLst>
        </pc:spChg>
        <pc:spChg chg="add del mod modVis">
          <ac:chgData name="Oğuz Öztekin" userId="33c0df0f-d5fe-4bda-8f43-141ad7af67e3" providerId="ADAL" clId="{48B824AD-1B2A-47A8-8D92-6FE6E622A650}" dt="2024-12-16T11:05:19.991" v="43092"/>
          <ac:spMkLst>
            <pc:docMk/>
            <pc:sldMk cId="4074781327" sldId="282"/>
            <ac:spMk id="273" creationId="{35CBA7C5-82F5-9991-FF66-4D8B668E47F6}"/>
          </ac:spMkLst>
        </pc:spChg>
        <pc:spChg chg="add del mod modVis">
          <ac:chgData name="Oğuz Öztekin" userId="33c0df0f-d5fe-4bda-8f43-141ad7af67e3" providerId="ADAL" clId="{48B824AD-1B2A-47A8-8D92-6FE6E622A650}" dt="2024-12-16T11:05:22.898" v="43319"/>
          <ac:spMkLst>
            <pc:docMk/>
            <pc:sldMk cId="4074781327" sldId="282"/>
            <ac:spMk id="275" creationId="{7C0362E5-B399-292F-B8DC-A8655857B6FA}"/>
          </ac:spMkLst>
        </pc:spChg>
        <pc:spChg chg="add del mod modVis">
          <ac:chgData name="Oğuz Öztekin" userId="33c0df0f-d5fe-4bda-8f43-141ad7af67e3" providerId="ADAL" clId="{48B824AD-1B2A-47A8-8D92-6FE6E622A650}" dt="2024-12-16T11:05:24.987" v="43460"/>
          <ac:spMkLst>
            <pc:docMk/>
            <pc:sldMk cId="4074781327" sldId="282"/>
            <ac:spMk id="277" creationId="{2D7D390F-E161-D900-67B5-0D9368E8D636}"/>
          </ac:spMkLst>
        </pc:spChg>
        <pc:spChg chg="add del mod modVis">
          <ac:chgData name="Oğuz Öztekin" userId="33c0df0f-d5fe-4bda-8f43-141ad7af67e3" providerId="ADAL" clId="{48B824AD-1B2A-47A8-8D92-6FE6E622A650}" dt="2024-12-16T11:05:27.418" v="43612"/>
          <ac:spMkLst>
            <pc:docMk/>
            <pc:sldMk cId="4074781327" sldId="282"/>
            <ac:spMk id="279" creationId="{E42D11C5-E8B1-04E1-1A56-33C940652D97}"/>
          </ac:spMkLst>
        </pc:spChg>
        <pc:spChg chg="add del mod modVis">
          <ac:chgData name="Oğuz Öztekin" userId="33c0df0f-d5fe-4bda-8f43-141ad7af67e3" providerId="ADAL" clId="{48B824AD-1B2A-47A8-8D92-6FE6E622A650}" dt="2024-12-16T11:05:28.591" v="43764"/>
          <ac:spMkLst>
            <pc:docMk/>
            <pc:sldMk cId="4074781327" sldId="282"/>
            <ac:spMk id="281" creationId="{FDF5B370-08F4-FBC3-1A95-085D80B5FE1E}"/>
          </ac:spMkLst>
        </pc:spChg>
        <pc:spChg chg="add del mod modVis">
          <ac:chgData name="Oğuz Öztekin" userId="33c0df0f-d5fe-4bda-8f43-141ad7af67e3" providerId="ADAL" clId="{48B824AD-1B2A-47A8-8D92-6FE6E622A650}" dt="2024-12-16T11:05:39.056" v="43994"/>
          <ac:spMkLst>
            <pc:docMk/>
            <pc:sldMk cId="4074781327" sldId="282"/>
            <ac:spMk id="283" creationId="{690E4968-BFF5-4331-65B5-205A84E8ABF7}"/>
          </ac:spMkLst>
        </pc:spChg>
        <pc:spChg chg="add mod">
          <ac:chgData name="Oğuz Öztekin" userId="33c0df0f-d5fe-4bda-8f43-141ad7af67e3" providerId="ADAL" clId="{48B824AD-1B2A-47A8-8D92-6FE6E622A650}" dt="2024-12-16T11:05:45.441" v="44402"/>
          <ac:spMkLst>
            <pc:docMk/>
            <pc:sldMk cId="4074781327" sldId="282"/>
            <ac:spMk id="284" creationId="{6E482385-6772-75BE-B6DE-3CE8B428F80D}"/>
          </ac:spMkLst>
        </pc:spChg>
        <pc:spChg chg="add mod">
          <ac:chgData name="Oğuz Öztekin" userId="33c0df0f-d5fe-4bda-8f43-141ad7af67e3" providerId="ADAL" clId="{48B824AD-1B2A-47A8-8D92-6FE6E622A650}" dt="2024-12-16T11:05:45.437" v="44389"/>
          <ac:spMkLst>
            <pc:docMk/>
            <pc:sldMk cId="4074781327" sldId="282"/>
            <ac:spMk id="285" creationId="{7D59A9A3-00EF-EA92-05E5-03C594F5F1DB}"/>
          </ac:spMkLst>
        </pc:spChg>
        <pc:spChg chg="add del mod modVis">
          <ac:chgData name="Oğuz Öztekin" userId="33c0df0f-d5fe-4bda-8f43-141ad7af67e3" providerId="ADAL" clId="{48B824AD-1B2A-47A8-8D92-6FE6E622A650}" dt="2024-12-16T11:05:43.722" v="44150"/>
          <ac:spMkLst>
            <pc:docMk/>
            <pc:sldMk cId="4074781327" sldId="282"/>
            <ac:spMk id="288" creationId="{CE35A33C-C097-0C89-9D0B-1D4675921CDD}"/>
          </ac:spMkLst>
        </pc:spChg>
        <pc:spChg chg="add del mod modVis">
          <ac:chgData name="Oğuz Öztekin" userId="33c0df0f-d5fe-4bda-8f43-141ad7af67e3" providerId="ADAL" clId="{48B824AD-1B2A-47A8-8D92-6FE6E622A650}" dt="2024-12-16T11:05:44.643" v="44305"/>
          <ac:spMkLst>
            <pc:docMk/>
            <pc:sldMk cId="4074781327" sldId="282"/>
            <ac:spMk id="290" creationId="{270ECB7A-05AA-4997-7421-68290C9892C1}"/>
          </ac:spMkLst>
        </pc:spChg>
        <pc:spChg chg="add del mod modVis">
          <ac:chgData name="Oğuz Öztekin" userId="33c0df0f-d5fe-4bda-8f43-141ad7af67e3" providerId="ADAL" clId="{48B824AD-1B2A-47A8-8D92-6FE6E622A650}" dt="2024-12-16T11:05:45.455" v="44460"/>
          <ac:spMkLst>
            <pc:docMk/>
            <pc:sldMk cId="4074781327" sldId="282"/>
            <ac:spMk id="292" creationId="{8852BD2E-AF94-EDEC-8302-41D84DE40B31}"/>
          </ac:spMkLst>
        </pc:spChg>
        <pc:spChg chg="add del mod modVis">
          <ac:chgData name="Oğuz Öztekin" userId="33c0df0f-d5fe-4bda-8f43-141ad7af67e3" providerId="ADAL" clId="{48B824AD-1B2A-47A8-8D92-6FE6E622A650}" dt="2024-12-16T11:05:55.326" v="44485"/>
          <ac:spMkLst>
            <pc:docMk/>
            <pc:sldMk cId="4074781327" sldId="282"/>
            <ac:spMk id="294" creationId="{8363E73C-1975-C353-6B9C-387CBD7B2827}"/>
          </ac:spMkLst>
        </pc:spChg>
        <pc:spChg chg="add del mod modVis">
          <ac:chgData name="Oğuz Öztekin" userId="33c0df0f-d5fe-4bda-8f43-141ad7af67e3" providerId="ADAL" clId="{48B824AD-1B2A-47A8-8D92-6FE6E622A650}" dt="2024-12-16T11:05:58.194" v="44522"/>
          <ac:spMkLst>
            <pc:docMk/>
            <pc:sldMk cId="4074781327" sldId="282"/>
            <ac:spMk id="295" creationId="{C1DB39B4-ADB6-3BC0-E442-394223397429}"/>
          </ac:spMkLst>
        </pc:spChg>
        <pc:spChg chg="add del mod modVis">
          <ac:chgData name="Oğuz Öztekin" userId="33c0df0f-d5fe-4bda-8f43-141ad7af67e3" providerId="ADAL" clId="{48B824AD-1B2A-47A8-8D92-6FE6E622A650}" dt="2024-12-16T11:06:47.625" v="44566"/>
          <ac:spMkLst>
            <pc:docMk/>
            <pc:sldMk cId="4074781327" sldId="282"/>
            <ac:spMk id="296" creationId="{A8F8C5E6-E661-1F99-D853-1196395A1530}"/>
          </ac:spMkLst>
        </pc:spChg>
        <pc:graphicFrameChg chg="mod">
          <ac:chgData name="Oğuz Öztekin" userId="33c0df0f-d5fe-4bda-8f43-141ad7af67e3" providerId="ADAL" clId="{48B824AD-1B2A-47A8-8D92-6FE6E622A650}" dt="2024-12-16T11:06:47.625" v="44568"/>
          <ac:graphicFrameMkLst>
            <pc:docMk/>
            <pc:sldMk cId="4074781327" sldId="282"/>
            <ac:graphicFrameMk id="3" creationId="{08818FE0-F6D2-8128-546D-6E39D1DC2B5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29.243" v="32694"/>
          <ac:graphicFrameMkLst>
            <pc:docMk/>
            <pc:sldMk cId="4074781327" sldId="282"/>
            <ac:graphicFrameMk id="5" creationId="{48C0E980-F831-4CDE-DF7C-6F6C13E36CD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33.212" v="32878"/>
          <ac:graphicFrameMkLst>
            <pc:docMk/>
            <pc:sldMk cId="4074781327" sldId="282"/>
            <ac:graphicFrameMk id="24" creationId="{C1C24CBD-8B12-6ED6-35B7-548AD84004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35.797" v="32999"/>
          <ac:graphicFrameMkLst>
            <pc:docMk/>
            <pc:sldMk cId="4074781327" sldId="282"/>
            <ac:graphicFrameMk id="26" creationId="{41BFCFE3-996E-F6E7-79FC-5C3591439A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46.925" v="33228"/>
          <ac:graphicFrameMkLst>
            <pc:docMk/>
            <pc:sldMk cId="4074781327" sldId="282"/>
            <ac:graphicFrameMk id="28" creationId="{2B662B44-8884-8C1F-F777-4E63CF3CCC0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49.587" v="33861"/>
          <ac:graphicFrameMkLst>
            <pc:docMk/>
            <pc:sldMk cId="4074781327" sldId="282"/>
            <ac:graphicFrameMk id="38" creationId="{8E8CEEC7-0EBB-7784-28C3-C2E1DA23E01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1.751" v="34077"/>
          <ac:graphicFrameMkLst>
            <pc:docMk/>
            <pc:sldMk cId="4074781327" sldId="282"/>
            <ac:graphicFrameMk id="50" creationId="{9CDD8EF4-8B0D-AFE9-1E02-36DB38CFAB5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4.300" v="34247"/>
          <ac:graphicFrameMkLst>
            <pc:docMk/>
            <pc:sldMk cId="4074781327" sldId="282"/>
            <ac:graphicFrameMk id="55" creationId="{A5982C54-9989-06E5-0FB7-09DFF18FDD0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7.378" v="34883"/>
          <ac:graphicFrameMkLst>
            <pc:docMk/>
            <pc:sldMk cId="4074781327" sldId="282"/>
            <ac:graphicFrameMk id="57" creationId="{B420806D-CA9D-9AD4-2683-2620EDB6C46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2:57.927" v="35076"/>
          <ac:graphicFrameMkLst>
            <pc:docMk/>
            <pc:sldMk cId="4074781327" sldId="282"/>
            <ac:graphicFrameMk id="69" creationId="{FC723909-6903-B717-65F9-5DCC7FB2DFD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03.947" v="35204"/>
          <ac:graphicFrameMkLst>
            <pc:docMk/>
            <pc:sldMk cId="4074781327" sldId="282"/>
            <ac:graphicFrameMk id="71" creationId="{C84F0E0A-4DE9-24EF-BA39-45ABD10C553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0.559" v="35332"/>
          <ac:graphicFrameMkLst>
            <pc:docMk/>
            <pc:sldMk cId="4074781327" sldId="282"/>
            <ac:graphicFrameMk id="77" creationId="{B63EE01D-6EC8-F294-D036-62A00B79D1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2.660" v="35496"/>
          <ac:graphicFrameMkLst>
            <pc:docMk/>
            <pc:sldMk cId="4074781327" sldId="282"/>
            <ac:graphicFrameMk id="79" creationId="{4038E02A-EA6A-57FB-FD97-DB6110BC1D6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4.351" v="35616"/>
          <ac:graphicFrameMkLst>
            <pc:docMk/>
            <pc:sldMk cId="4074781327" sldId="282"/>
            <ac:graphicFrameMk id="82" creationId="{1832116B-BF32-7C6E-F784-465A8B46245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5.275" v="35786"/>
          <ac:graphicFrameMkLst>
            <pc:docMk/>
            <pc:sldMk cId="4074781327" sldId="282"/>
            <ac:graphicFrameMk id="84" creationId="{E4B1D096-A9E1-476E-0212-1FE1BC2EDCD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6.742" v="35906"/>
          <ac:graphicFrameMkLst>
            <pc:docMk/>
            <pc:sldMk cId="4074781327" sldId="282"/>
            <ac:graphicFrameMk id="94" creationId="{99F76D85-A31F-1774-823F-AA2042A64BD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8.040" v="36060"/>
          <ac:graphicFrameMkLst>
            <pc:docMk/>
            <pc:sldMk cId="4074781327" sldId="282"/>
            <ac:graphicFrameMk id="160" creationId="{5C8DC0CC-9303-AC44-DBC4-476A68D197E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19.596" v="36180"/>
          <ac:graphicFrameMkLst>
            <pc:docMk/>
            <pc:sldMk cId="4074781327" sldId="282"/>
            <ac:graphicFrameMk id="164" creationId="{D08C1DEA-934A-19C4-2EB6-4A58C59FB7E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1.361" v="36290"/>
          <ac:graphicFrameMkLst>
            <pc:docMk/>
            <pc:sldMk cId="4074781327" sldId="282"/>
            <ac:graphicFrameMk id="166" creationId="{BD44F8F4-0CED-AA05-8F0D-CC3A2473A19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2.254" v="36441"/>
          <ac:graphicFrameMkLst>
            <pc:docMk/>
            <pc:sldMk cId="4074781327" sldId="282"/>
            <ac:graphicFrameMk id="168" creationId="{E78B5AB4-4552-7691-5BE9-D1B2EDEA9E25}"/>
          </ac:graphicFrameMkLst>
        </pc:graphicFrameChg>
        <pc:graphicFrameChg chg="del">
          <ac:chgData name="Oğuz Öztekin" userId="33c0df0f-d5fe-4bda-8f43-141ad7af67e3" providerId="ADAL" clId="{48B824AD-1B2A-47A8-8D92-6FE6E622A650}" dt="2024-12-16T11:02:27.892" v="32515"/>
          <ac:graphicFrameMkLst>
            <pc:docMk/>
            <pc:sldMk cId="4074781327" sldId="282"/>
            <ac:graphicFrameMk id="169" creationId="{9353865F-D251-CDA5-5D59-A681C861639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3.564" v="36561"/>
          <ac:graphicFrameMkLst>
            <pc:docMk/>
            <pc:sldMk cId="4074781327" sldId="282"/>
            <ac:graphicFrameMk id="172" creationId="{25ADF9B1-E418-0F7E-2BB8-10665A3AD37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4.579" v="36715"/>
          <ac:graphicFrameMkLst>
            <pc:docMk/>
            <pc:sldMk cId="4074781327" sldId="282"/>
            <ac:graphicFrameMk id="174" creationId="{E2BA1FE7-2DB8-8FA8-A3AA-F74B38C7691F}"/>
          </ac:graphicFrameMkLst>
        </pc:graphicFrameChg>
        <pc:graphicFrameChg chg="del mod ord">
          <ac:chgData name="Oğuz Öztekin" userId="33c0df0f-d5fe-4bda-8f43-141ad7af67e3" providerId="ADAL" clId="{48B824AD-1B2A-47A8-8D92-6FE6E622A650}" dt="2024-12-16T11:04:28.978" v="39296"/>
          <ac:graphicFrameMkLst>
            <pc:docMk/>
            <pc:sldMk cId="4074781327" sldId="282"/>
            <ac:graphicFrameMk id="177" creationId="{7DA91B26-F05C-3766-A2FC-0B22A2B5673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6.907" v="36835"/>
          <ac:graphicFrameMkLst>
            <pc:docMk/>
            <pc:sldMk cId="4074781327" sldId="282"/>
            <ac:graphicFrameMk id="178" creationId="{814F11CE-8FBE-D684-0A8F-374A573D62F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7.821" v="36989"/>
          <ac:graphicFrameMkLst>
            <pc:docMk/>
            <pc:sldMk cId="4074781327" sldId="282"/>
            <ac:graphicFrameMk id="180" creationId="{203546AF-B4D0-A3D9-19F8-BFC95210D21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29.371" v="37109"/>
          <ac:graphicFrameMkLst>
            <pc:docMk/>
            <pc:sldMk cId="4074781327" sldId="282"/>
            <ac:graphicFrameMk id="183" creationId="{A626C6B4-F7DE-2AE2-B236-F236D858745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32.376" v="37215"/>
          <ac:graphicFrameMkLst>
            <pc:docMk/>
            <pc:sldMk cId="4074781327" sldId="282"/>
            <ac:graphicFrameMk id="185" creationId="{9609409D-98F6-D26F-05DF-17A6013EDBF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35.050" v="37586"/>
          <ac:graphicFrameMkLst>
            <pc:docMk/>
            <pc:sldMk cId="4074781327" sldId="282"/>
            <ac:graphicFrameMk id="187" creationId="{23CB54E1-B2A9-5345-8B04-00040C487A4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38.804" v="37971"/>
          <ac:graphicFrameMkLst>
            <pc:docMk/>
            <pc:sldMk cId="4074781327" sldId="282"/>
            <ac:graphicFrameMk id="195" creationId="{3BA6EFD6-332D-0C20-72FA-205E147B0EB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41.646" v="38236"/>
          <ac:graphicFrameMkLst>
            <pc:docMk/>
            <pc:sldMk cId="4074781327" sldId="282"/>
            <ac:graphicFrameMk id="201" creationId="{2E574F38-5385-A97A-A302-79873B0E878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42.867" v="38359"/>
          <ac:graphicFrameMkLst>
            <pc:docMk/>
            <pc:sldMk cId="4074781327" sldId="282"/>
            <ac:graphicFrameMk id="203" creationId="{1902FDFD-7F97-9633-8970-129D9425F46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0.644" v="38485"/>
          <ac:graphicFrameMkLst>
            <pc:docMk/>
            <pc:sldMk cId="4074781327" sldId="282"/>
            <ac:graphicFrameMk id="205" creationId="{F9E475EF-70E1-D5DD-64C5-1D6A378F468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2.069" v="38612"/>
          <ac:graphicFrameMkLst>
            <pc:docMk/>
            <pc:sldMk cId="4074781327" sldId="282"/>
            <ac:graphicFrameMk id="207" creationId="{0F765A3A-FAA3-69A6-C244-436A9EDC5D3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3.649" v="38737"/>
          <ac:graphicFrameMkLst>
            <pc:docMk/>
            <pc:sldMk cId="4074781327" sldId="282"/>
            <ac:graphicFrameMk id="209" creationId="{A61990D5-1157-1D10-B632-9F7964A3110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4.587" v="38860"/>
          <ac:graphicFrameMkLst>
            <pc:docMk/>
            <pc:sldMk cId="4074781327" sldId="282"/>
            <ac:graphicFrameMk id="211" creationId="{BD320338-1337-8494-0DFC-3ADD7D62CDC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3:55.519" v="38978"/>
          <ac:graphicFrameMkLst>
            <pc:docMk/>
            <pc:sldMk cId="4074781327" sldId="282"/>
            <ac:graphicFrameMk id="213" creationId="{AC71E1F0-6AF9-0F93-E8D4-DF711B7915A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9.956" v="43003"/>
          <ac:graphicFrameMkLst>
            <pc:docMk/>
            <pc:sldMk cId="4074781327" sldId="282"/>
            <ac:graphicFrameMk id="215" creationId="{2AAC3141-20E7-6BE2-E4CD-C9CC26ECF87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33.898" v="39479"/>
          <ac:graphicFrameMkLst>
            <pc:docMk/>
            <pc:sldMk cId="4074781327" sldId="282"/>
            <ac:graphicFrameMk id="220" creationId="{84B96E55-B0C3-6BC9-E06D-858CA921EEB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36.559" v="39602"/>
          <ac:graphicFrameMkLst>
            <pc:docMk/>
            <pc:sldMk cId="4074781327" sldId="282"/>
            <ac:graphicFrameMk id="222" creationId="{F6BA2792-C489-F67F-2744-A35F77EB67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48.631" v="39848"/>
          <ac:graphicFrameMkLst>
            <pc:docMk/>
            <pc:sldMk cId="4074781327" sldId="282"/>
            <ac:graphicFrameMk id="224" creationId="{091B9313-5923-D2A0-8AA0-767D6D84D3E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53.502" v="39982"/>
          <ac:graphicFrameMkLst>
            <pc:docMk/>
            <pc:sldMk cId="4074781327" sldId="282"/>
            <ac:graphicFrameMk id="232" creationId="{09428368-F2F7-1CC8-988E-91ED97BAA83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56.822" v="40385"/>
          <ac:graphicFrameMkLst>
            <pc:docMk/>
            <pc:sldMk cId="4074781327" sldId="282"/>
            <ac:graphicFrameMk id="234" creationId="{41F6979B-257B-F301-4191-9FA2BC997D07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4:57.550" v="40525"/>
          <ac:graphicFrameMkLst>
            <pc:docMk/>
            <pc:sldMk cId="4074781327" sldId="282"/>
            <ac:graphicFrameMk id="242" creationId="{BBB10FA0-43FF-31B2-C78A-795515390A6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00.077" v="40915"/>
          <ac:graphicFrameMkLst>
            <pc:docMk/>
            <pc:sldMk cId="4074781327" sldId="282"/>
            <ac:graphicFrameMk id="244" creationId="{6DFF7A24-FF0E-40D2-4E87-FA25681DB55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03.549" v="41639"/>
          <ac:graphicFrameMkLst>
            <pc:docMk/>
            <pc:sldMk cId="4074781327" sldId="282"/>
            <ac:graphicFrameMk id="252" creationId="{7C1C78AC-2EEA-AD83-8FD2-2A082B7B18D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08.075" v="42065"/>
          <ac:graphicFrameMkLst>
            <pc:docMk/>
            <pc:sldMk cId="4074781327" sldId="282"/>
            <ac:graphicFrameMk id="264" creationId="{E05BB939-ADE4-B404-E497-B9F01E8E3844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1.030" v="42219"/>
          <ac:graphicFrameMkLst>
            <pc:docMk/>
            <pc:sldMk cId="4074781327" sldId="282"/>
            <ac:graphicFrameMk id="266" creationId="{C5BB822E-2A5E-72B1-E857-8A333C2CD7A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6.599" v="42643"/>
          <ac:graphicFrameMkLst>
            <pc:docMk/>
            <pc:sldMk cId="4074781327" sldId="282"/>
            <ac:graphicFrameMk id="268" creationId="{0964160C-221A-E119-2CD7-BFC8E9C1D6B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18.792" v="42795"/>
          <ac:graphicFrameMkLst>
            <pc:docMk/>
            <pc:sldMk cId="4074781327" sldId="282"/>
            <ac:graphicFrameMk id="270" creationId="{F6D3E3BC-53DD-FD91-7C29-C82F91C53AB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7.382" v="43523"/>
          <ac:graphicFrameMkLst>
            <pc:docMk/>
            <pc:sldMk cId="4074781327" sldId="282"/>
            <ac:graphicFrameMk id="272" creationId="{3BDE8063-3B5D-DBF7-DDC6-186EECBBDB0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2.863" v="43230"/>
          <ac:graphicFrameMkLst>
            <pc:docMk/>
            <pc:sldMk cId="4074781327" sldId="282"/>
            <ac:graphicFrameMk id="274" creationId="{948C9C0C-F6EC-8194-7964-A68475DE97D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4.952" v="43371"/>
          <ac:graphicFrameMkLst>
            <pc:docMk/>
            <pc:sldMk cId="4074781327" sldId="282"/>
            <ac:graphicFrameMk id="276" creationId="{4592C05F-13CD-C6E5-AC99-6746B41AD97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39.019" v="43901"/>
          <ac:graphicFrameMkLst>
            <pc:docMk/>
            <pc:sldMk cId="4074781327" sldId="282"/>
            <ac:graphicFrameMk id="278" creationId="{C50C5960-D596-3EA4-49BA-7DB9F245CF6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28.554" v="43675"/>
          <ac:graphicFrameMkLst>
            <pc:docMk/>
            <pc:sldMk cId="4074781327" sldId="282"/>
            <ac:graphicFrameMk id="280" creationId="{DA9D36A1-B6AD-96CD-BF49-54A609C5E2C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05:45.442" v="44406"/>
          <ac:graphicFrameMkLst>
            <pc:docMk/>
            <pc:sldMk cId="4074781327" sldId="282"/>
            <ac:graphicFrameMk id="282" creationId="{A3792F70-A281-2604-A877-0836E390D43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43.684" v="44057"/>
          <ac:graphicFrameMkLst>
            <pc:docMk/>
            <pc:sldMk cId="4074781327" sldId="282"/>
            <ac:graphicFrameMk id="287" creationId="{3668AADA-106C-4CC0-AD8C-9EBD6ECD719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44.604" v="44212"/>
          <ac:graphicFrameMkLst>
            <pc:docMk/>
            <pc:sldMk cId="4074781327" sldId="282"/>
            <ac:graphicFrameMk id="289" creationId="{2F635161-ACC1-992A-A530-F9F04993312A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05:45.417" v="44367"/>
          <ac:graphicFrameMkLst>
            <pc:docMk/>
            <pc:sldMk cId="4074781327" sldId="282"/>
            <ac:graphicFrameMk id="291" creationId="{87254E52-F22D-A01C-3E40-0668B32D4705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05:45.434" v="44376"/>
          <ac:graphicFrameMkLst>
            <pc:docMk/>
            <pc:sldMk cId="4074781327" sldId="282"/>
            <ac:graphicFrameMk id="293" creationId="{7EFD1FBF-6214-2670-01DF-3095645F0A71}"/>
          </ac:graphicFrameMkLst>
        </pc:graphicFrameChg>
        <pc:cxnChg chg="mod ord">
          <ac:chgData name="Oğuz Öztekin" userId="33c0df0f-d5fe-4bda-8f43-141ad7af67e3" providerId="ADAL" clId="{48B824AD-1B2A-47A8-8D92-6FE6E622A650}" dt="2024-12-16T11:05:45.444" v="44418"/>
          <ac:cxnSpMkLst>
            <pc:docMk/>
            <pc:sldMk cId="4074781327" sldId="282"/>
            <ac:cxnSpMk id="7" creationId="{A1533FBF-663A-6538-2E6F-ECBC8B01235B}"/>
          </ac:cxnSpMkLst>
        </pc:cxnChg>
        <pc:cxnChg chg="mod ord">
          <ac:chgData name="Oğuz Öztekin" userId="33c0df0f-d5fe-4bda-8f43-141ad7af67e3" providerId="ADAL" clId="{48B824AD-1B2A-47A8-8D92-6FE6E622A650}" dt="2024-12-16T11:05:45.444" v="44414"/>
          <ac:cxnSpMkLst>
            <pc:docMk/>
            <pc:sldMk cId="4074781327" sldId="282"/>
            <ac:cxnSpMk id="8" creationId="{15976A05-1CDE-B84A-0274-0E853EE30587}"/>
          </ac:cxnSpMkLst>
        </pc:cxnChg>
        <pc:cxnChg chg="mod ord">
          <ac:chgData name="Oğuz Öztekin" userId="33c0df0f-d5fe-4bda-8f43-141ad7af67e3" providerId="ADAL" clId="{48B824AD-1B2A-47A8-8D92-6FE6E622A650}" dt="2024-12-16T11:05:45.444" v="44416"/>
          <ac:cxnSpMkLst>
            <pc:docMk/>
            <pc:sldMk cId="4074781327" sldId="282"/>
            <ac:cxnSpMk id="9" creationId="{E3036054-8716-B9B4-E7C6-A9D3B721CD7D}"/>
          </ac:cxnSpMkLst>
        </pc:cxnChg>
        <pc:cxnChg chg="mod ord">
          <ac:chgData name="Oğuz Öztekin" userId="33c0df0f-d5fe-4bda-8f43-141ad7af67e3" providerId="ADAL" clId="{48B824AD-1B2A-47A8-8D92-6FE6E622A650}" dt="2024-12-16T11:05:45.447" v="44431"/>
          <ac:cxnSpMkLst>
            <pc:docMk/>
            <pc:sldMk cId="4074781327" sldId="282"/>
            <ac:cxnSpMk id="11" creationId="{52332A99-A9F2-BA99-5FD5-643042C45AD9}"/>
          </ac:cxnSpMkLst>
        </pc:cxnChg>
        <pc:cxnChg chg="add del mod ord">
          <ac:chgData name="Oğuz Öztekin" userId="33c0df0f-d5fe-4bda-8f43-141ad7af67e3" providerId="ADAL" clId="{48B824AD-1B2A-47A8-8D92-6FE6E622A650}" dt="2024-12-16T11:02:49.175" v="33309"/>
          <ac:cxnSpMkLst>
            <pc:docMk/>
            <pc:sldMk cId="4074781327" sldId="282"/>
            <ac:cxnSpMk id="30" creationId="{63DA2E96-2971-D8B2-2B22-CD73D18A7F96}"/>
          </ac:cxnSpMkLst>
        </pc:cxnChg>
        <pc:cxnChg chg="add del mod ord">
          <ac:chgData name="Oğuz Öztekin" userId="33c0df0f-d5fe-4bda-8f43-141ad7af67e3" providerId="ADAL" clId="{48B824AD-1B2A-47A8-8D92-6FE6E622A650}" dt="2024-12-16T11:02:49.175" v="33307"/>
          <ac:cxnSpMkLst>
            <pc:docMk/>
            <pc:sldMk cId="4074781327" sldId="282"/>
            <ac:cxnSpMk id="31" creationId="{9E471E58-7FD7-2940-0179-0FC00450AF12}"/>
          </ac:cxnSpMkLst>
        </pc:cxnChg>
        <pc:cxnChg chg="add del mod ord">
          <ac:chgData name="Oğuz Öztekin" userId="33c0df0f-d5fe-4bda-8f43-141ad7af67e3" providerId="ADAL" clId="{48B824AD-1B2A-47A8-8D92-6FE6E622A650}" dt="2024-12-16T11:02:49.174" v="33305"/>
          <ac:cxnSpMkLst>
            <pc:docMk/>
            <pc:sldMk cId="4074781327" sldId="282"/>
            <ac:cxnSpMk id="32" creationId="{66A6B4BE-311C-44CD-9380-FB92302D431E}"/>
          </ac:cxnSpMkLst>
        </pc:cxnChg>
        <pc:cxnChg chg="add del mod ord">
          <ac:chgData name="Oğuz Öztekin" userId="33c0df0f-d5fe-4bda-8f43-141ad7af67e3" providerId="ADAL" clId="{48B824AD-1B2A-47A8-8D92-6FE6E622A650}" dt="2024-12-16T11:02:49.174" v="33303"/>
          <ac:cxnSpMkLst>
            <pc:docMk/>
            <pc:sldMk cId="4074781327" sldId="282"/>
            <ac:cxnSpMk id="33" creationId="{4308F809-0450-E718-7037-C01E1314144F}"/>
          </ac:cxnSpMkLst>
        </pc:cxnChg>
        <pc:cxnChg chg="add del mod ord">
          <ac:chgData name="Oğuz Öztekin" userId="33c0df0f-d5fe-4bda-8f43-141ad7af67e3" providerId="ADAL" clId="{48B824AD-1B2A-47A8-8D92-6FE6E622A650}" dt="2024-12-16T11:02:49.173" v="33301"/>
          <ac:cxnSpMkLst>
            <pc:docMk/>
            <pc:sldMk cId="4074781327" sldId="282"/>
            <ac:cxnSpMk id="34" creationId="{7E8CF698-6619-28E4-B15C-8C973399E195}"/>
          </ac:cxnSpMkLst>
        </pc:cxnChg>
        <pc:cxnChg chg="del mod ord">
          <ac:chgData name="Oğuz Öztekin" userId="33c0df0f-d5fe-4bda-8f43-141ad7af67e3" providerId="ADAL" clId="{48B824AD-1B2A-47A8-8D92-6FE6E622A650}" dt="2024-12-16T11:02:49.176" v="33311"/>
          <ac:cxnSpMkLst>
            <pc:docMk/>
            <pc:sldMk cId="4074781327" sldId="282"/>
            <ac:cxnSpMk id="53" creationId="{219C975A-C492-9FB6-8AAF-F505C339CA83}"/>
          </ac:cxnSpMkLst>
        </pc:cxnChg>
        <pc:cxnChg chg="mod ord">
          <ac:chgData name="Oğuz Öztekin" userId="33c0df0f-d5fe-4bda-8f43-141ad7af67e3" providerId="ADAL" clId="{48B824AD-1B2A-47A8-8D92-6FE6E622A650}" dt="2024-12-16T11:05:45.436" v="44384"/>
          <ac:cxnSpMkLst>
            <pc:docMk/>
            <pc:sldMk cId="4074781327" sldId="282"/>
            <ac:cxnSpMk id="73" creationId="{E7C7B5E0-BFBA-5A9D-AA77-D1ACF0DBF9A6}"/>
          </ac:cxnSpMkLst>
        </pc:cxnChg>
        <pc:cxnChg chg="mod ord">
          <ac:chgData name="Oğuz Öztekin" userId="33c0df0f-d5fe-4bda-8f43-141ad7af67e3" providerId="ADAL" clId="{48B824AD-1B2A-47A8-8D92-6FE6E622A650}" dt="2024-12-16T11:05:45.437" v="44386"/>
          <ac:cxnSpMkLst>
            <pc:docMk/>
            <pc:sldMk cId="4074781327" sldId="282"/>
            <ac:cxnSpMk id="74" creationId="{FD704EA1-5A9F-B95E-4162-5CE556574395}"/>
          </ac:cxnSpMkLst>
        </pc:cxnChg>
        <pc:cxnChg chg="mod ord">
          <ac:chgData name="Oğuz Öztekin" userId="33c0df0f-d5fe-4bda-8f43-141ad7af67e3" providerId="ADAL" clId="{48B824AD-1B2A-47A8-8D92-6FE6E622A650}" dt="2024-12-16T11:05:45.437" v="44388"/>
          <ac:cxnSpMkLst>
            <pc:docMk/>
            <pc:sldMk cId="4074781327" sldId="282"/>
            <ac:cxnSpMk id="75" creationId="{6FD1D3C8-EE05-89A3-ED51-23403129A4D6}"/>
          </ac:cxnSpMkLst>
        </pc:cxnChg>
        <pc:cxnChg chg="add mod ord">
          <ac:chgData name="Oğuz Öztekin" userId="33c0df0f-d5fe-4bda-8f43-141ad7af67e3" providerId="ADAL" clId="{48B824AD-1B2A-47A8-8D92-6FE6E622A650}" dt="2024-12-16T11:05:45.447" v="44433"/>
          <ac:cxnSpMkLst>
            <pc:docMk/>
            <pc:sldMk cId="4074781327" sldId="282"/>
            <ac:cxnSpMk id="226" creationId="{F448A5C8-8EBE-E789-C38E-0E7077AEE2AA}"/>
          </ac:cxnSpMkLst>
        </pc:cxnChg>
        <pc:cxnChg chg="add mod ord">
          <ac:chgData name="Oğuz Öztekin" userId="33c0df0f-d5fe-4bda-8f43-141ad7af67e3" providerId="ADAL" clId="{48B824AD-1B2A-47A8-8D92-6FE6E622A650}" dt="2024-12-16T11:05:45.445" v="44420"/>
          <ac:cxnSpMkLst>
            <pc:docMk/>
            <pc:sldMk cId="4074781327" sldId="282"/>
            <ac:cxnSpMk id="227" creationId="{D46FB74C-4A90-3684-7631-7F49DEDA40AA}"/>
          </ac:cxnSpMkLst>
        </pc:cxnChg>
        <pc:cxnChg chg="add mod ord">
          <ac:chgData name="Oğuz Öztekin" userId="33c0df0f-d5fe-4bda-8f43-141ad7af67e3" providerId="ADAL" clId="{48B824AD-1B2A-47A8-8D92-6FE6E622A650}" dt="2024-12-16T11:05:45.445" v="44422"/>
          <ac:cxnSpMkLst>
            <pc:docMk/>
            <pc:sldMk cId="4074781327" sldId="282"/>
            <ac:cxnSpMk id="228" creationId="{E9318A59-269A-F262-4448-89AB440B5C61}"/>
          </ac:cxnSpMkLst>
        </pc:cxnChg>
        <pc:cxnChg chg="add mod ord">
          <ac:chgData name="Oğuz Öztekin" userId="33c0df0f-d5fe-4bda-8f43-141ad7af67e3" providerId="ADAL" clId="{48B824AD-1B2A-47A8-8D92-6FE6E622A650}" dt="2024-12-16T11:05:45.445" v="44424"/>
          <ac:cxnSpMkLst>
            <pc:docMk/>
            <pc:sldMk cId="4074781327" sldId="282"/>
            <ac:cxnSpMk id="229" creationId="{224756EA-C4E7-3136-B8E2-E860815CBC3F}"/>
          </ac:cxnSpMkLst>
        </pc:cxnChg>
        <pc:cxnChg chg="add mod ord">
          <ac:chgData name="Oğuz Öztekin" userId="33c0df0f-d5fe-4bda-8f43-141ad7af67e3" providerId="ADAL" clId="{48B824AD-1B2A-47A8-8D92-6FE6E622A650}" dt="2024-12-16T11:05:45.446" v="44426"/>
          <ac:cxnSpMkLst>
            <pc:docMk/>
            <pc:sldMk cId="4074781327" sldId="282"/>
            <ac:cxnSpMk id="230" creationId="{0DF03E0E-9BBE-7785-CE5B-BF5AFD14FED6}"/>
          </ac:cxnSpMkLst>
        </pc:cxnChg>
        <pc:cxnChg chg="add mod ord">
          <ac:chgData name="Oğuz Öztekin" userId="33c0df0f-d5fe-4bda-8f43-141ad7af67e3" providerId="ADAL" clId="{48B824AD-1B2A-47A8-8D92-6FE6E622A650}" dt="2024-12-16T11:05:45.446" v="44428"/>
          <ac:cxnSpMkLst>
            <pc:docMk/>
            <pc:sldMk cId="4074781327" sldId="282"/>
            <ac:cxnSpMk id="231" creationId="{72908240-AD6D-E83C-37E4-E1C09A1E34A5}"/>
          </ac:cxnSpMkLst>
        </pc:cxnChg>
        <pc:cxnChg chg="add mod ord">
          <ac:chgData name="Oğuz Öztekin" userId="33c0df0f-d5fe-4bda-8f43-141ad7af67e3" providerId="ADAL" clId="{48B824AD-1B2A-47A8-8D92-6FE6E622A650}" dt="2024-12-16T11:05:45.438" v="44391"/>
          <ac:cxnSpMkLst>
            <pc:docMk/>
            <pc:sldMk cId="4074781327" sldId="282"/>
            <ac:cxnSpMk id="286" creationId="{1B8AA56F-7C2A-92A3-6FEC-0F9B187F57EA}"/>
          </ac:cxnSpMkLst>
        </pc:cxnChg>
      </pc:sldChg>
      <pc:sldChg chg="addSp delSp modSp add del mod">
        <pc:chgData name="Oğuz Öztekin" userId="33c0df0f-d5fe-4bda-8f43-141ad7af67e3" providerId="ADAL" clId="{48B824AD-1B2A-47A8-8D92-6FE6E622A650}" dt="2024-12-16T11:19:21.105" v="52446"/>
        <pc:sldMkLst>
          <pc:docMk/>
          <pc:sldMk cId="2007446643" sldId="283"/>
        </pc:sldMkLst>
        <pc:spChg chg="mod ord">
          <ac:chgData name="Oğuz Öztekin" userId="33c0df0f-d5fe-4bda-8f43-141ad7af67e3" providerId="ADAL" clId="{48B824AD-1B2A-47A8-8D92-6FE6E622A650}" dt="2024-12-16T11:19:21.101" v="52428"/>
          <ac:spMkLst>
            <pc:docMk/>
            <pc:sldMk cId="2007446643" sldId="283"/>
            <ac:spMk id="2" creationId="{244C6A3F-5ECD-7E3D-5CEE-7C435460A096}"/>
          </ac:spMkLst>
        </pc:spChg>
        <pc:spChg chg="add del mod modVis">
          <ac:chgData name="Oğuz Öztekin" userId="33c0df0f-d5fe-4bda-8f43-141ad7af67e3" providerId="ADAL" clId="{48B824AD-1B2A-47A8-8D92-6FE6E622A650}" dt="2024-12-16T11:12:52.132" v="45806" actId="478"/>
          <ac:spMkLst>
            <pc:docMk/>
            <pc:sldMk cId="2007446643" sldId="283"/>
            <ac:spMk id="4" creationId="{E889D60C-CACB-4184-3404-F676628C07DE}"/>
          </ac:spMkLst>
        </pc:spChg>
        <pc:spChg chg="add del mod modVis">
          <ac:chgData name="Oğuz Öztekin" userId="33c0df0f-d5fe-4bda-8f43-141ad7af67e3" providerId="ADAL" clId="{48B824AD-1B2A-47A8-8D92-6FE6E622A650}" dt="2024-12-16T11:12:53.332" v="45891" actId="478"/>
          <ac:spMkLst>
            <pc:docMk/>
            <pc:sldMk cId="2007446643" sldId="283"/>
            <ac:spMk id="6" creationId="{12A976AF-C048-7F86-BC50-8C839E148C4B}"/>
          </ac:spMkLst>
        </pc:spChg>
        <pc:spChg chg="del mod">
          <ac:chgData name="Oğuz Öztekin" userId="33c0df0f-d5fe-4bda-8f43-141ad7af67e3" providerId="ADAL" clId="{48B824AD-1B2A-47A8-8D92-6FE6E622A650}" dt="2024-12-16T11:18:10.520" v="49679"/>
          <ac:spMkLst>
            <pc:docMk/>
            <pc:sldMk cId="2007446643" sldId="283"/>
            <ac:spMk id="10" creationId="{CBCF0A45-4291-C9C8-A6B3-BF046F303CDE}"/>
          </ac:spMkLst>
        </pc:spChg>
        <pc:spChg chg="del mod">
          <ac:chgData name="Oğuz Öztekin" userId="33c0df0f-d5fe-4bda-8f43-141ad7af67e3" providerId="ADAL" clId="{48B824AD-1B2A-47A8-8D92-6FE6E622A650}" dt="2024-12-16T11:18:10.527" v="49700"/>
          <ac:spMkLst>
            <pc:docMk/>
            <pc:sldMk cId="2007446643" sldId="283"/>
            <ac:spMk id="12" creationId="{F003557D-3964-24C2-90E9-A6A2DD370EFE}"/>
          </ac:spMkLst>
        </pc:spChg>
        <pc:spChg chg="del mod">
          <ac:chgData name="Oğuz Öztekin" userId="33c0df0f-d5fe-4bda-8f43-141ad7af67e3" providerId="ADAL" clId="{48B824AD-1B2A-47A8-8D92-6FE6E622A650}" dt="2024-12-16T11:18:10.526" v="49698"/>
          <ac:spMkLst>
            <pc:docMk/>
            <pc:sldMk cId="2007446643" sldId="283"/>
            <ac:spMk id="13" creationId="{A98E4A05-993E-0366-2AB8-1C4DDA6EA93E}"/>
          </ac:spMkLst>
        </pc:spChg>
        <pc:spChg chg="del mod">
          <ac:chgData name="Oğuz Öztekin" userId="33c0df0f-d5fe-4bda-8f43-141ad7af67e3" providerId="ADAL" clId="{48B824AD-1B2A-47A8-8D92-6FE6E622A650}" dt="2024-12-16T11:18:10.525" v="49696"/>
          <ac:spMkLst>
            <pc:docMk/>
            <pc:sldMk cId="2007446643" sldId="283"/>
            <ac:spMk id="14" creationId="{C4F6845C-3E23-7CF7-B3B4-C66FB03E6365}"/>
          </ac:spMkLst>
        </pc:spChg>
        <pc:spChg chg="del mod">
          <ac:chgData name="Oğuz Öztekin" userId="33c0df0f-d5fe-4bda-8f43-141ad7af67e3" providerId="ADAL" clId="{48B824AD-1B2A-47A8-8D92-6FE6E622A650}" dt="2024-12-16T11:18:10.525" v="49694"/>
          <ac:spMkLst>
            <pc:docMk/>
            <pc:sldMk cId="2007446643" sldId="283"/>
            <ac:spMk id="15" creationId="{8AF2ED5F-7ED3-B078-F887-C73845FD2ECF}"/>
          </ac:spMkLst>
        </pc:spChg>
        <pc:spChg chg="del mod">
          <ac:chgData name="Oğuz Öztekin" userId="33c0df0f-d5fe-4bda-8f43-141ad7af67e3" providerId="ADAL" clId="{48B824AD-1B2A-47A8-8D92-6FE6E622A650}" dt="2024-12-16T11:18:10.524" v="49692"/>
          <ac:spMkLst>
            <pc:docMk/>
            <pc:sldMk cId="2007446643" sldId="283"/>
            <ac:spMk id="16" creationId="{37FBA4ED-8597-C361-FB5F-C6C921A58738}"/>
          </ac:spMkLst>
        </pc:spChg>
        <pc:spChg chg="del mod">
          <ac:chgData name="Oğuz Öztekin" userId="33c0df0f-d5fe-4bda-8f43-141ad7af67e3" providerId="ADAL" clId="{48B824AD-1B2A-47A8-8D92-6FE6E622A650}" dt="2024-12-16T11:18:10.524" v="49690"/>
          <ac:spMkLst>
            <pc:docMk/>
            <pc:sldMk cId="2007446643" sldId="283"/>
            <ac:spMk id="17" creationId="{969E629B-E461-BFA2-B452-02C23A741D01}"/>
          </ac:spMkLst>
        </pc:spChg>
        <pc:spChg chg="del mod">
          <ac:chgData name="Oğuz Öztekin" userId="33c0df0f-d5fe-4bda-8f43-141ad7af67e3" providerId="ADAL" clId="{48B824AD-1B2A-47A8-8D92-6FE6E622A650}" dt="2024-12-16T11:18:10.523" v="49688"/>
          <ac:spMkLst>
            <pc:docMk/>
            <pc:sldMk cId="2007446643" sldId="283"/>
            <ac:spMk id="18" creationId="{3242957F-CFA7-721A-46BC-1A499FA16F3E}"/>
          </ac:spMkLst>
        </pc:spChg>
        <pc:spChg chg="del mod">
          <ac:chgData name="Oğuz Öztekin" userId="33c0df0f-d5fe-4bda-8f43-141ad7af67e3" providerId="ADAL" clId="{48B824AD-1B2A-47A8-8D92-6FE6E622A650}" dt="2024-12-16T11:18:10.523" v="49686"/>
          <ac:spMkLst>
            <pc:docMk/>
            <pc:sldMk cId="2007446643" sldId="283"/>
            <ac:spMk id="19" creationId="{D146E35D-1C5D-251C-BE13-63ED3EF95AEF}"/>
          </ac:spMkLst>
        </pc:spChg>
        <pc:spChg chg="del mod">
          <ac:chgData name="Oğuz Öztekin" userId="33c0df0f-d5fe-4bda-8f43-141ad7af67e3" providerId="ADAL" clId="{48B824AD-1B2A-47A8-8D92-6FE6E622A650}" dt="2024-12-16T11:18:10.522" v="49684"/>
          <ac:spMkLst>
            <pc:docMk/>
            <pc:sldMk cId="2007446643" sldId="283"/>
            <ac:spMk id="20" creationId="{52C0A07B-9BB5-F148-B548-4D3DBAC1B618}"/>
          </ac:spMkLst>
        </pc:spChg>
        <pc:spChg chg="del mod">
          <ac:chgData name="Oğuz Öztekin" userId="33c0df0f-d5fe-4bda-8f43-141ad7af67e3" providerId="ADAL" clId="{48B824AD-1B2A-47A8-8D92-6FE6E622A650}" dt="2024-12-16T11:18:10.521" v="49682"/>
          <ac:spMkLst>
            <pc:docMk/>
            <pc:sldMk cId="2007446643" sldId="283"/>
            <ac:spMk id="21" creationId="{8CBF5E6A-5964-904F-FDD9-68856621B8CC}"/>
          </ac:spMkLst>
        </pc:spChg>
        <pc:spChg chg="del mod">
          <ac:chgData name="Oğuz Öztekin" userId="33c0df0f-d5fe-4bda-8f43-141ad7af67e3" providerId="ADAL" clId="{48B824AD-1B2A-47A8-8D92-6FE6E622A650}" dt="2024-12-16T11:18:10.521" v="49680"/>
          <ac:spMkLst>
            <pc:docMk/>
            <pc:sldMk cId="2007446643" sldId="283"/>
            <ac:spMk id="22" creationId="{3CBF6A18-DDB4-0EB6-5F97-DCD72E78D390}"/>
          </ac:spMkLst>
        </pc:spChg>
        <pc:spChg chg="del mod ord">
          <ac:chgData name="Oğuz Öztekin" userId="33c0df0f-d5fe-4bda-8f43-141ad7af67e3" providerId="ADAL" clId="{48B824AD-1B2A-47A8-8D92-6FE6E622A650}" dt="2024-12-16T11:18:10.516" v="49664"/>
          <ac:spMkLst>
            <pc:docMk/>
            <pc:sldMk cId="2007446643" sldId="283"/>
            <ac:spMk id="23" creationId="{4AAA719C-8485-2C13-691F-A3B2CCF04072}"/>
          </ac:spMkLst>
        </pc:spChg>
        <pc:spChg chg="add del mod modVis">
          <ac:chgData name="Oğuz Öztekin" userId="33c0df0f-d5fe-4bda-8f43-141ad7af67e3" providerId="ADAL" clId="{48B824AD-1B2A-47A8-8D92-6FE6E622A650}" dt="2024-12-16T11:12:38.841" v="45382" actId="962"/>
          <ac:spMkLst>
            <pc:docMk/>
            <pc:sldMk cId="2007446643" sldId="283"/>
            <ac:spMk id="25" creationId="{8D7BAFFD-9EC7-7FAC-87B4-98225B85CE78}"/>
          </ac:spMkLst>
        </pc:spChg>
        <pc:spChg chg="add del mod modVis">
          <ac:chgData name="Oğuz Öztekin" userId="33c0df0f-d5fe-4bda-8f43-141ad7af67e3" providerId="ADAL" clId="{48B824AD-1B2A-47A8-8D92-6FE6E622A650}" dt="2024-12-16T11:13:54.525" v="45944"/>
          <ac:spMkLst>
            <pc:docMk/>
            <pc:sldMk cId="2007446643" sldId="283"/>
            <ac:spMk id="27" creationId="{54335845-06D2-7547-65B6-109C6C079F0E}"/>
          </ac:spMkLst>
        </pc:spChg>
        <pc:spChg chg="add del mod modVis">
          <ac:chgData name="Oğuz Öztekin" userId="33c0df0f-d5fe-4bda-8f43-141ad7af67e3" providerId="ADAL" clId="{48B824AD-1B2A-47A8-8D92-6FE6E622A650}" dt="2024-12-16T11:16:25.727" v="46157"/>
          <ac:spMkLst>
            <pc:docMk/>
            <pc:sldMk cId="2007446643" sldId="283"/>
            <ac:spMk id="28" creationId="{B2986A22-328E-8BA5-7D0A-3AD439EF3B18}"/>
          </ac:spMkLst>
        </pc:spChg>
        <pc:spChg chg="add del mod modVis">
          <ac:chgData name="Oğuz Öztekin" userId="33c0df0f-d5fe-4bda-8f43-141ad7af67e3" providerId="ADAL" clId="{48B824AD-1B2A-47A8-8D92-6FE6E622A650}" dt="2024-12-16T11:16:36.484" v="46580"/>
          <ac:spMkLst>
            <pc:docMk/>
            <pc:sldMk cId="2007446643" sldId="283"/>
            <ac:spMk id="30" creationId="{C9022DC4-628D-FB66-8F70-A22DD9846BBB}"/>
          </ac:spMkLst>
        </pc:spChg>
        <pc:spChg chg="add del mod">
          <ac:chgData name="Oğuz Öztekin" userId="33c0df0f-d5fe-4bda-8f43-141ad7af67e3" providerId="ADAL" clId="{48B824AD-1B2A-47A8-8D92-6FE6E622A650}" dt="2024-12-16T11:16:38.934" v="46621"/>
          <ac:spMkLst>
            <pc:docMk/>
            <pc:sldMk cId="2007446643" sldId="283"/>
            <ac:spMk id="31" creationId="{67C58A3C-229F-FAF0-A5C8-F51879A57774}"/>
          </ac:spMkLst>
        </pc:spChg>
        <pc:spChg chg="add del mod ord">
          <ac:chgData name="Oğuz Öztekin" userId="33c0df0f-d5fe-4bda-8f43-141ad7af67e3" providerId="ADAL" clId="{48B824AD-1B2A-47A8-8D92-6FE6E622A650}" dt="2024-12-16T11:17:03.044" v="48109"/>
          <ac:spMkLst>
            <pc:docMk/>
            <pc:sldMk cId="2007446643" sldId="283"/>
            <ac:spMk id="32" creationId="{2C840851-BBE5-FD75-E188-7A4F433512FD}"/>
          </ac:spMkLst>
        </pc:spChg>
        <pc:spChg chg="add del mod ord">
          <ac:chgData name="Oğuz Öztekin" userId="33c0df0f-d5fe-4bda-8f43-141ad7af67e3" providerId="ADAL" clId="{48B824AD-1B2A-47A8-8D92-6FE6E622A650}" dt="2024-12-16T11:17:03.043" v="48107"/>
          <ac:spMkLst>
            <pc:docMk/>
            <pc:sldMk cId="2007446643" sldId="283"/>
            <ac:spMk id="33" creationId="{C75ACFED-A8BD-7C24-CA68-00AF15C12351}"/>
          </ac:spMkLst>
        </pc:spChg>
        <pc:spChg chg="add del mod">
          <ac:chgData name="Oğuz Öztekin" userId="33c0df0f-d5fe-4bda-8f43-141ad7af67e3" providerId="ADAL" clId="{48B824AD-1B2A-47A8-8D92-6FE6E622A650}" dt="2024-12-16T11:17:03.043" v="48105"/>
          <ac:spMkLst>
            <pc:docMk/>
            <pc:sldMk cId="2007446643" sldId="283"/>
            <ac:spMk id="34" creationId="{0A107558-ADA3-5507-5EBC-7DEDFEF0F139}"/>
          </ac:spMkLst>
        </pc:spChg>
        <pc:spChg chg="del mod">
          <ac:chgData name="Oğuz Öztekin" userId="33c0df0f-d5fe-4bda-8f43-141ad7af67e3" providerId="ADAL" clId="{48B824AD-1B2A-47A8-8D92-6FE6E622A650}" dt="2024-12-16T11:17:03.083" v="48218"/>
          <ac:spMkLst>
            <pc:docMk/>
            <pc:sldMk cId="2007446643" sldId="283"/>
            <ac:spMk id="35" creationId="{854BEB29-8535-57B3-8962-C0189C8D1848}"/>
          </ac:spMkLst>
        </pc:spChg>
        <pc:spChg chg="del mod">
          <ac:chgData name="Oğuz Öztekin" userId="33c0df0f-d5fe-4bda-8f43-141ad7af67e3" providerId="ADAL" clId="{48B824AD-1B2A-47A8-8D92-6FE6E622A650}" dt="2024-12-16T11:17:03.084" v="48219"/>
          <ac:spMkLst>
            <pc:docMk/>
            <pc:sldMk cId="2007446643" sldId="283"/>
            <ac:spMk id="36" creationId="{9735C9D5-4543-3A2B-F62C-171A30B53AB5}"/>
          </ac:spMkLst>
        </pc:spChg>
        <pc:spChg chg="del mod">
          <ac:chgData name="Oğuz Öztekin" userId="33c0df0f-d5fe-4bda-8f43-141ad7af67e3" providerId="ADAL" clId="{48B824AD-1B2A-47A8-8D92-6FE6E622A650}" dt="2024-12-16T11:17:03.084" v="48220"/>
          <ac:spMkLst>
            <pc:docMk/>
            <pc:sldMk cId="2007446643" sldId="283"/>
            <ac:spMk id="37" creationId="{8460A7C5-1567-FFB2-CB32-D0BDCD03EC85}"/>
          </ac:spMkLst>
        </pc:spChg>
        <pc:spChg chg="add del mod ord">
          <ac:chgData name="Oğuz Öztekin" userId="33c0df0f-d5fe-4bda-8f43-141ad7af67e3" providerId="ADAL" clId="{48B824AD-1B2A-47A8-8D92-6FE6E622A650}" dt="2024-12-16T11:17:03.042" v="48104"/>
          <ac:spMkLst>
            <pc:docMk/>
            <pc:sldMk cId="2007446643" sldId="283"/>
            <ac:spMk id="38" creationId="{C4A0AF32-B047-23AF-9787-832515523D91}"/>
          </ac:spMkLst>
        </pc:spChg>
        <pc:spChg chg="add del mod ord">
          <ac:chgData name="Oğuz Öztekin" userId="33c0df0f-d5fe-4bda-8f43-141ad7af67e3" providerId="ADAL" clId="{48B824AD-1B2A-47A8-8D92-6FE6E622A650}" dt="2024-12-16T11:17:03.042" v="48102"/>
          <ac:spMkLst>
            <pc:docMk/>
            <pc:sldMk cId="2007446643" sldId="283"/>
            <ac:spMk id="39" creationId="{2212FDF3-55BF-479F-8BA8-AD8B0F1FC70E}"/>
          </ac:spMkLst>
        </pc:spChg>
        <pc:spChg chg="add del mod">
          <ac:chgData name="Oğuz Öztekin" userId="33c0df0f-d5fe-4bda-8f43-141ad7af67e3" providerId="ADAL" clId="{48B824AD-1B2A-47A8-8D92-6FE6E622A650}" dt="2024-12-16T11:17:03.042" v="48100"/>
          <ac:spMkLst>
            <pc:docMk/>
            <pc:sldMk cId="2007446643" sldId="283"/>
            <ac:spMk id="40" creationId="{853FCD08-A907-3C7C-D9B6-72C319C5C757}"/>
          </ac:spMkLst>
        </pc:spChg>
        <pc:spChg chg="add del mod">
          <ac:chgData name="Oğuz Öztekin" userId="33c0df0f-d5fe-4bda-8f43-141ad7af67e3" providerId="ADAL" clId="{48B824AD-1B2A-47A8-8D92-6FE6E622A650}" dt="2024-12-16T11:18:26.165" v="51081"/>
          <ac:spMkLst>
            <pc:docMk/>
            <pc:sldMk cId="2007446643" sldId="283"/>
            <ac:spMk id="41" creationId="{C94F4107-CF74-6FC9-614C-06B33340B970}"/>
          </ac:spMkLst>
        </pc:spChg>
        <pc:spChg chg="add del mod">
          <ac:chgData name="Oğuz Öztekin" userId="33c0df0f-d5fe-4bda-8f43-141ad7af67e3" providerId="ADAL" clId="{48B824AD-1B2A-47A8-8D92-6FE6E622A650}" dt="2024-12-16T11:18:26.164" v="51075"/>
          <ac:spMkLst>
            <pc:docMk/>
            <pc:sldMk cId="2007446643" sldId="283"/>
            <ac:spMk id="42" creationId="{BDF6629A-282B-CDED-9229-AEDD96BC8EC1}"/>
          </ac:spMkLst>
        </pc:spChg>
        <pc:spChg chg="add del mod">
          <ac:chgData name="Oğuz Öztekin" userId="33c0df0f-d5fe-4bda-8f43-141ad7af67e3" providerId="ADAL" clId="{48B824AD-1B2A-47A8-8D92-6FE6E622A650}" dt="2024-12-16T11:18:26.163" v="51072"/>
          <ac:spMkLst>
            <pc:docMk/>
            <pc:sldMk cId="2007446643" sldId="283"/>
            <ac:spMk id="43" creationId="{73311560-67C7-EEF7-5493-6EAA8F492147}"/>
          </ac:spMkLst>
        </pc:spChg>
        <pc:spChg chg="add del mod">
          <ac:chgData name="Oğuz Öztekin" userId="33c0df0f-d5fe-4bda-8f43-141ad7af67e3" providerId="ADAL" clId="{48B824AD-1B2A-47A8-8D92-6FE6E622A650}" dt="2024-12-16T11:18:26.161" v="51066"/>
          <ac:spMkLst>
            <pc:docMk/>
            <pc:sldMk cId="2007446643" sldId="283"/>
            <ac:spMk id="44" creationId="{EE9A179F-8D56-3A75-D5E5-2043E1CEAB42}"/>
          </ac:spMkLst>
        </pc:spChg>
        <pc:spChg chg="add del mod">
          <ac:chgData name="Oğuz Öztekin" userId="33c0df0f-d5fe-4bda-8f43-141ad7af67e3" providerId="ADAL" clId="{48B824AD-1B2A-47A8-8D92-6FE6E622A650}" dt="2024-12-16T11:18:38.186" v="51336"/>
          <ac:spMkLst>
            <pc:docMk/>
            <pc:sldMk cId="2007446643" sldId="283"/>
            <ac:spMk id="45" creationId="{DDE82F6C-6E5B-FF8E-691C-1681B251F879}"/>
          </ac:spMkLst>
        </pc:spChg>
        <pc:spChg chg="add del mod">
          <ac:chgData name="Oğuz Öztekin" userId="33c0df0f-d5fe-4bda-8f43-141ad7af67e3" providerId="ADAL" clId="{48B824AD-1B2A-47A8-8D92-6FE6E622A650}" dt="2024-12-16T11:18:26.159" v="51057"/>
          <ac:spMkLst>
            <pc:docMk/>
            <pc:sldMk cId="2007446643" sldId="283"/>
            <ac:spMk id="46" creationId="{91F1395A-0501-4CBE-D754-4C94038C544D}"/>
          </ac:spMkLst>
        </pc:spChg>
        <pc:spChg chg="add del mod modVis">
          <ac:chgData name="Oğuz Öztekin" userId="33c0df0f-d5fe-4bda-8f43-141ad7af67e3" providerId="ADAL" clId="{48B824AD-1B2A-47A8-8D92-6FE6E622A650}" dt="2024-12-16T11:17:03.142" v="48383"/>
          <ac:spMkLst>
            <pc:docMk/>
            <pc:sldMk cId="2007446643" sldId="283"/>
            <ac:spMk id="55" creationId="{310BC037-9AC4-3487-ED79-E85E9CF0C54B}"/>
          </ac:spMkLst>
        </pc:spChg>
        <pc:spChg chg="add del mod ord">
          <ac:chgData name="Oğuz Öztekin" userId="33c0df0f-d5fe-4bda-8f43-141ad7af67e3" providerId="ADAL" clId="{48B824AD-1B2A-47A8-8D92-6FE6E622A650}" dt="2024-12-16T11:18:38.127" v="51262"/>
          <ac:spMkLst>
            <pc:docMk/>
            <pc:sldMk cId="2007446643" sldId="283"/>
            <ac:spMk id="56" creationId="{710188B6-2CD5-1D94-A547-694F9734BDF2}"/>
          </ac:spMkLst>
        </pc:spChg>
        <pc:spChg chg="add del mod ord">
          <ac:chgData name="Oğuz Öztekin" userId="33c0df0f-d5fe-4bda-8f43-141ad7af67e3" providerId="ADAL" clId="{48B824AD-1B2A-47A8-8D92-6FE6E622A650}" dt="2024-12-16T11:18:38.126" v="51260"/>
          <ac:spMkLst>
            <pc:docMk/>
            <pc:sldMk cId="2007446643" sldId="283"/>
            <ac:spMk id="57" creationId="{6CEC1965-C7A2-91FD-3318-0F5063C33225}"/>
          </ac:spMkLst>
        </pc:spChg>
        <pc:spChg chg="add del mod">
          <ac:chgData name="Oğuz Öztekin" userId="33c0df0f-d5fe-4bda-8f43-141ad7af67e3" providerId="ADAL" clId="{48B824AD-1B2A-47A8-8D92-6FE6E622A650}" dt="2024-12-16T11:18:38.125" v="51258"/>
          <ac:spMkLst>
            <pc:docMk/>
            <pc:sldMk cId="2007446643" sldId="283"/>
            <ac:spMk id="58" creationId="{79A78A08-B84E-4B6A-FCCD-34AE2B872BF4}"/>
          </ac:spMkLst>
        </pc:spChg>
        <pc:spChg chg="add del mod modVis">
          <ac:chgData name="Oğuz Öztekin" userId="33c0df0f-d5fe-4bda-8f43-141ad7af67e3" providerId="ADAL" clId="{48B824AD-1B2A-47A8-8D92-6FE6E622A650}" dt="2024-12-16T11:17:11.545" v="48556"/>
          <ac:spMkLst>
            <pc:docMk/>
            <pc:sldMk cId="2007446643" sldId="283"/>
            <ac:spMk id="60" creationId="{ECF7843E-6406-B59F-2343-5E679FA9F8A1}"/>
          </ac:spMkLst>
        </pc:spChg>
        <pc:spChg chg="add del mod modVis">
          <ac:chgData name="Oğuz Öztekin" userId="33c0df0f-d5fe-4bda-8f43-141ad7af67e3" providerId="ADAL" clId="{48B824AD-1B2A-47A8-8D92-6FE6E622A650}" dt="2024-12-16T11:17:14.309" v="48729"/>
          <ac:spMkLst>
            <pc:docMk/>
            <pc:sldMk cId="2007446643" sldId="283"/>
            <ac:spMk id="62" creationId="{3829B1D0-5483-2211-F529-4219F197631F}"/>
          </ac:spMkLst>
        </pc:spChg>
        <pc:spChg chg="add del mod modVis">
          <ac:chgData name="Oğuz Öztekin" userId="33c0df0f-d5fe-4bda-8f43-141ad7af67e3" providerId="ADAL" clId="{48B824AD-1B2A-47A8-8D92-6FE6E622A650}" dt="2024-12-16T11:18:26.254" v="51255"/>
          <ac:spMkLst>
            <pc:docMk/>
            <pc:sldMk cId="2007446643" sldId="283"/>
            <ac:spMk id="69" creationId="{7755654E-48DD-C31F-C7A1-8273CCF4B7FE}"/>
          </ac:spMkLst>
        </pc:spChg>
        <pc:spChg chg="add del mod">
          <ac:chgData name="Oğuz Öztekin" userId="33c0df0f-d5fe-4bda-8f43-141ad7af67e3" providerId="ADAL" clId="{48B824AD-1B2A-47A8-8D92-6FE6E622A650}" dt="2024-12-16T11:18:38.187" v="51338"/>
          <ac:spMkLst>
            <pc:docMk/>
            <pc:sldMk cId="2007446643" sldId="283"/>
            <ac:spMk id="70" creationId="{7A7C0974-DE50-547C-081E-B1FD941A7D0E}"/>
          </ac:spMkLst>
        </pc:spChg>
        <pc:spChg chg="mod ord">
          <ac:chgData name="Oğuz Öztekin" userId="33c0df0f-d5fe-4bda-8f43-141ad7af67e3" providerId="ADAL" clId="{48B824AD-1B2A-47A8-8D92-6FE6E622A650}" dt="2024-12-16T11:19:21.104" v="52442"/>
          <ac:spMkLst>
            <pc:docMk/>
            <pc:sldMk cId="2007446643" sldId="283"/>
            <ac:spMk id="72" creationId="{57B8B239-5D7F-0E8A-BD39-D3FB333FA216}"/>
          </ac:spMkLst>
        </pc:spChg>
        <pc:spChg chg="add del mod modVis">
          <ac:chgData name="Oğuz Öztekin" userId="33c0df0f-d5fe-4bda-8f43-141ad7af67e3" providerId="ADAL" clId="{48B824AD-1B2A-47A8-8D92-6FE6E622A650}" dt="2024-12-16T11:18:38.218" v="51400"/>
          <ac:spMkLst>
            <pc:docMk/>
            <pc:sldMk cId="2007446643" sldId="283"/>
            <ac:spMk id="77" creationId="{C37BD1ED-736C-68D1-CE23-97181AAA8722}"/>
          </ac:spMkLst>
        </pc:spChg>
        <pc:spChg chg="add del mod modVis">
          <ac:chgData name="Oğuz Öztekin" userId="33c0df0f-d5fe-4bda-8f43-141ad7af67e3" providerId="ADAL" clId="{48B824AD-1B2A-47A8-8D92-6FE6E622A650}" dt="2024-12-16T11:18:42.742" v="51496"/>
          <ac:spMkLst>
            <pc:docMk/>
            <pc:sldMk cId="2007446643" sldId="283"/>
            <ac:spMk id="79" creationId="{4E52A764-41A8-43DE-5C26-7B59F9126100}"/>
          </ac:spMkLst>
        </pc:spChg>
        <pc:spChg chg="add del mod modVis">
          <ac:chgData name="Oğuz Öztekin" userId="33c0df0f-d5fe-4bda-8f43-141ad7af67e3" providerId="ADAL" clId="{48B824AD-1B2A-47A8-8D92-6FE6E622A650}" dt="2024-12-16T11:18:54.514" v="51575"/>
          <ac:spMkLst>
            <pc:docMk/>
            <pc:sldMk cId="2007446643" sldId="283"/>
            <ac:spMk id="81" creationId="{119873C9-50AC-B470-A0D7-AA53DACFE3F7}"/>
          </ac:spMkLst>
        </pc:spChg>
        <pc:spChg chg="add del mod modVis">
          <ac:chgData name="Oğuz Öztekin" userId="33c0df0f-d5fe-4bda-8f43-141ad7af67e3" providerId="ADAL" clId="{48B824AD-1B2A-47A8-8D92-6FE6E622A650}" dt="2024-12-16T11:19:10.625" v="52027"/>
          <ac:spMkLst>
            <pc:docMk/>
            <pc:sldMk cId="2007446643" sldId="283"/>
            <ac:spMk id="83" creationId="{5376A8E1-3E02-2D23-11A5-F8D5834ED015}"/>
          </ac:spMkLst>
        </pc:spChg>
        <pc:spChg chg="add del mod">
          <ac:chgData name="Oğuz Öztekin" userId="33c0df0f-d5fe-4bda-8f43-141ad7af67e3" providerId="ADAL" clId="{48B824AD-1B2A-47A8-8D92-6FE6E622A650}" dt="2024-12-16T11:19:12.709" v="52190"/>
          <ac:spMkLst>
            <pc:docMk/>
            <pc:sldMk cId="2007446643" sldId="283"/>
            <ac:spMk id="84" creationId="{A36BFE1D-15C7-D64A-3FC7-D86034638CF6}"/>
          </ac:spMkLst>
        </pc:spChg>
        <pc:spChg chg="add del mod">
          <ac:chgData name="Oğuz Öztekin" userId="33c0df0f-d5fe-4bda-8f43-141ad7af67e3" providerId="ADAL" clId="{48B824AD-1B2A-47A8-8D92-6FE6E622A650}" dt="2024-12-16T11:19:12.710" v="52191"/>
          <ac:spMkLst>
            <pc:docMk/>
            <pc:sldMk cId="2007446643" sldId="283"/>
            <ac:spMk id="85" creationId="{13F841C0-0E0B-8AE3-9C51-F415B2C7071F}"/>
          </ac:spMkLst>
        </pc:spChg>
        <pc:spChg chg="del mod">
          <ac:chgData name="Oğuz Öztekin" userId="33c0df0f-d5fe-4bda-8f43-141ad7af67e3" providerId="ADAL" clId="{48B824AD-1B2A-47A8-8D92-6FE6E622A650}" dt="2024-12-16T11:17:03.084" v="48221"/>
          <ac:spMkLst>
            <pc:docMk/>
            <pc:sldMk cId="2007446643" sldId="283"/>
            <ac:spMk id="86" creationId="{066A5591-A0D3-901C-FD47-06E789828135}"/>
          </ac:spMkLst>
        </pc:spChg>
        <pc:spChg chg="del mod">
          <ac:chgData name="Oğuz Öztekin" userId="33c0df0f-d5fe-4bda-8f43-141ad7af67e3" providerId="ADAL" clId="{48B824AD-1B2A-47A8-8D92-6FE6E622A650}" dt="2024-12-16T11:17:03.084" v="48222"/>
          <ac:spMkLst>
            <pc:docMk/>
            <pc:sldMk cId="2007446643" sldId="283"/>
            <ac:spMk id="87" creationId="{A6ED54C3-750E-3832-06ED-C1BD8E415455}"/>
          </ac:spMkLst>
        </pc:spChg>
        <pc:spChg chg="del mod">
          <ac:chgData name="Oğuz Öztekin" userId="33c0df0f-d5fe-4bda-8f43-141ad7af67e3" providerId="ADAL" clId="{48B824AD-1B2A-47A8-8D92-6FE6E622A650}" dt="2024-12-16T11:17:03.085" v="48223"/>
          <ac:spMkLst>
            <pc:docMk/>
            <pc:sldMk cId="2007446643" sldId="283"/>
            <ac:spMk id="88" creationId="{7D5828D2-E1E9-A289-104C-E4A842BA866F}"/>
          </ac:spMkLst>
        </pc:spChg>
        <pc:spChg chg="del mod">
          <ac:chgData name="Oğuz Öztekin" userId="33c0df0f-d5fe-4bda-8f43-141ad7af67e3" providerId="ADAL" clId="{48B824AD-1B2A-47A8-8D92-6FE6E622A650}" dt="2024-12-16T11:17:03.085" v="48224"/>
          <ac:spMkLst>
            <pc:docMk/>
            <pc:sldMk cId="2007446643" sldId="283"/>
            <ac:spMk id="89" creationId="{3DA60AF9-6746-E28F-49E2-1FDC634101F5}"/>
          </ac:spMkLst>
        </pc:spChg>
        <pc:spChg chg="del mod">
          <ac:chgData name="Oğuz Öztekin" userId="33c0df0f-d5fe-4bda-8f43-141ad7af67e3" providerId="ADAL" clId="{48B824AD-1B2A-47A8-8D92-6FE6E622A650}" dt="2024-12-16T11:17:03.085" v="48225"/>
          <ac:spMkLst>
            <pc:docMk/>
            <pc:sldMk cId="2007446643" sldId="283"/>
            <ac:spMk id="90" creationId="{3045C7A4-2E67-5DB6-9200-8682894A1604}"/>
          </ac:spMkLst>
        </pc:spChg>
        <pc:spChg chg="del mod">
          <ac:chgData name="Oğuz Öztekin" userId="33c0df0f-d5fe-4bda-8f43-141ad7af67e3" providerId="ADAL" clId="{48B824AD-1B2A-47A8-8D92-6FE6E622A650}" dt="2024-12-16T11:17:03.086" v="48226"/>
          <ac:spMkLst>
            <pc:docMk/>
            <pc:sldMk cId="2007446643" sldId="283"/>
            <ac:spMk id="91" creationId="{159DAB28-D907-F9F4-6972-72EFDE6E943F}"/>
          </ac:spMkLst>
        </pc:spChg>
        <pc:spChg chg="del mod">
          <ac:chgData name="Oğuz Öztekin" userId="33c0df0f-d5fe-4bda-8f43-141ad7af67e3" providerId="ADAL" clId="{48B824AD-1B2A-47A8-8D92-6FE6E622A650}" dt="2024-12-16T11:17:03.086" v="48227"/>
          <ac:spMkLst>
            <pc:docMk/>
            <pc:sldMk cId="2007446643" sldId="283"/>
            <ac:spMk id="92" creationId="{D46F0ACB-447A-01F2-7FD8-9E12F0AE1AE0}"/>
          </ac:spMkLst>
        </pc:spChg>
        <pc:spChg chg="add del mod">
          <ac:chgData name="Oğuz Öztekin" userId="33c0df0f-d5fe-4bda-8f43-141ad7af67e3" providerId="ADAL" clId="{48B824AD-1B2A-47A8-8D92-6FE6E622A650}" dt="2024-12-16T11:19:12.710" v="52192"/>
          <ac:spMkLst>
            <pc:docMk/>
            <pc:sldMk cId="2007446643" sldId="283"/>
            <ac:spMk id="93" creationId="{5F852E9D-832C-D504-B2FD-4ED7FAB91E96}"/>
          </ac:spMkLst>
        </pc:spChg>
        <pc:spChg chg="add del mod">
          <ac:chgData name="Oğuz Öztekin" userId="33c0df0f-d5fe-4bda-8f43-141ad7af67e3" providerId="ADAL" clId="{48B824AD-1B2A-47A8-8D92-6FE6E622A650}" dt="2024-12-16T11:19:12.711" v="52193"/>
          <ac:spMkLst>
            <pc:docMk/>
            <pc:sldMk cId="2007446643" sldId="283"/>
            <ac:spMk id="94" creationId="{E3FFC8BD-4BA6-956C-ABF4-9C8CD330E065}"/>
          </ac:spMkLst>
        </pc:spChg>
        <pc:spChg chg="add del mod">
          <ac:chgData name="Oğuz Öztekin" userId="33c0df0f-d5fe-4bda-8f43-141ad7af67e3" providerId="ADAL" clId="{48B824AD-1B2A-47A8-8D92-6FE6E622A650}" dt="2024-12-16T11:19:12.711" v="52194"/>
          <ac:spMkLst>
            <pc:docMk/>
            <pc:sldMk cId="2007446643" sldId="283"/>
            <ac:spMk id="95" creationId="{68DF34BB-8A1D-7319-D9CF-E4A49ADA2FF5}"/>
          </ac:spMkLst>
        </pc:spChg>
        <pc:spChg chg="add del mod">
          <ac:chgData name="Oğuz Öztekin" userId="33c0df0f-d5fe-4bda-8f43-141ad7af67e3" providerId="ADAL" clId="{48B824AD-1B2A-47A8-8D92-6FE6E622A650}" dt="2024-12-16T11:19:12.711" v="52195"/>
          <ac:spMkLst>
            <pc:docMk/>
            <pc:sldMk cId="2007446643" sldId="283"/>
            <ac:spMk id="160" creationId="{630FA92C-F00D-B830-CECC-FB6D0CF35A3A}"/>
          </ac:spMkLst>
        </pc:spChg>
        <pc:spChg chg="add del mod">
          <ac:chgData name="Oğuz Öztekin" userId="33c0df0f-d5fe-4bda-8f43-141ad7af67e3" providerId="ADAL" clId="{48B824AD-1B2A-47A8-8D92-6FE6E622A650}" dt="2024-12-16T11:19:12.712" v="52196"/>
          <ac:spMkLst>
            <pc:docMk/>
            <pc:sldMk cId="2007446643" sldId="283"/>
            <ac:spMk id="161" creationId="{47CDAA56-8158-20A3-97E0-7388C40D99B0}"/>
          </ac:spMkLst>
        </pc:spChg>
        <pc:spChg chg="del mod ord">
          <ac:chgData name="Oğuz Öztekin" userId="33c0df0f-d5fe-4bda-8f43-141ad7af67e3" providerId="ADAL" clId="{48B824AD-1B2A-47A8-8D92-6FE6E622A650}" dt="2024-12-16T11:18:48.719" v="51499" actId="478"/>
          <ac:spMkLst>
            <pc:docMk/>
            <pc:sldMk cId="2007446643" sldId="283"/>
            <ac:spMk id="163" creationId="{B5FB4D6A-B01E-00E6-1060-8028F2B530D0}"/>
          </ac:spMkLst>
        </pc:spChg>
        <pc:spChg chg="add del mod modVis">
          <ac:chgData name="Oğuz Öztekin" userId="33c0df0f-d5fe-4bda-8f43-141ad7af67e3" providerId="ADAL" clId="{48B824AD-1B2A-47A8-8D92-6FE6E622A650}" dt="2024-12-16T11:19:12.749" v="52246"/>
          <ac:spMkLst>
            <pc:docMk/>
            <pc:sldMk cId="2007446643" sldId="283"/>
            <ac:spMk id="164" creationId="{80A47C4D-81E3-F27F-C69B-EC73739EF1CB}"/>
          </ac:spMkLst>
        </pc:spChg>
        <pc:spChg chg="add del mod modVis">
          <ac:chgData name="Oğuz Öztekin" userId="33c0df0f-d5fe-4bda-8f43-141ad7af67e3" providerId="ADAL" clId="{48B824AD-1B2A-47A8-8D92-6FE6E622A650}" dt="2024-12-16T11:19:19.105" v="52345"/>
          <ac:spMkLst>
            <pc:docMk/>
            <pc:sldMk cId="2007446643" sldId="283"/>
            <ac:spMk id="166" creationId="{1B0182F1-378C-3DB1-672E-29760453BEF7}"/>
          </ac:spMkLst>
        </pc:spChg>
        <pc:spChg chg="add del mod modVis">
          <ac:chgData name="Oğuz Öztekin" userId="33c0df0f-d5fe-4bda-8f43-141ad7af67e3" providerId="ADAL" clId="{48B824AD-1B2A-47A8-8D92-6FE6E622A650}" dt="2024-12-16T11:19:21.104" v="52444"/>
          <ac:spMkLst>
            <pc:docMk/>
            <pc:sldMk cId="2007446643" sldId="283"/>
            <ac:spMk id="168" creationId="{E5B0D9AC-5B2F-BD53-63BF-B2AA34A788BF}"/>
          </ac:spMkLst>
        </pc:spChg>
        <pc:spChg chg="del mod">
          <ac:chgData name="Oğuz Öztekin" userId="33c0df0f-d5fe-4bda-8f43-141ad7af67e3" providerId="ADAL" clId="{48B824AD-1B2A-47A8-8D92-6FE6E622A650}" dt="2024-12-16T11:18:38.185" v="51334"/>
          <ac:spMkLst>
            <pc:docMk/>
            <pc:sldMk cId="2007446643" sldId="283"/>
            <ac:spMk id="189" creationId="{15D967C2-8942-D2CD-5436-53335067A0E9}"/>
          </ac:spMkLst>
        </pc:spChg>
        <pc:spChg chg="del mod">
          <ac:chgData name="Oğuz Öztekin" userId="33c0df0f-d5fe-4bda-8f43-141ad7af67e3" providerId="ADAL" clId="{48B824AD-1B2A-47A8-8D92-6FE6E622A650}" dt="2024-12-16T11:16:36.230" v="46220"/>
          <ac:spMkLst>
            <pc:docMk/>
            <pc:sldMk cId="2007446643" sldId="283"/>
            <ac:spMk id="190" creationId="{E0359037-6B6C-AD4F-33DF-42FC195179E6}"/>
          </ac:spMkLst>
        </pc:spChg>
        <pc:spChg chg="del mod">
          <ac:chgData name="Oğuz Öztekin" userId="33c0df0f-d5fe-4bda-8f43-141ad7af67e3" providerId="ADAL" clId="{48B824AD-1B2A-47A8-8D92-6FE6E622A650}" dt="2024-12-16T11:16:36.230" v="46219"/>
          <ac:spMkLst>
            <pc:docMk/>
            <pc:sldMk cId="2007446643" sldId="283"/>
            <ac:spMk id="191" creationId="{82275CF2-9EF4-76D9-293F-720ADF04EA81}"/>
          </ac:spMkLst>
        </pc:spChg>
        <pc:spChg chg="del mod">
          <ac:chgData name="Oğuz Öztekin" userId="33c0df0f-d5fe-4bda-8f43-141ad7af67e3" providerId="ADAL" clId="{48B824AD-1B2A-47A8-8D92-6FE6E622A650}" dt="2024-12-16T11:16:36.229" v="46218"/>
          <ac:spMkLst>
            <pc:docMk/>
            <pc:sldMk cId="2007446643" sldId="283"/>
            <ac:spMk id="192" creationId="{E02ADC4C-CFBA-9417-9209-9ACDE371E481}"/>
          </ac:spMkLst>
        </pc:spChg>
        <pc:spChg chg="del mod">
          <ac:chgData name="Oğuz Öztekin" userId="33c0df0f-d5fe-4bda-8f43-141ad7af67e3" providerId="ADAL" clId="{48B824AD-1B2A-47A8-8D92-6FE6E622A650}" dt="2024-12-16T11:16:36.228" v="46217"/>
          <ac:spMkLst>
            <pc:docMk/>
            <pc:sldMk cId="2007446643" sldId="283"/>
            <ac:spMk id="193" creationId="{16298118-EE19-E7B3-AD19-BFB3E51B48E9}"/>
          </ac:spMkLst>
        </pc:spChg>
        <pc:spChg chg="del mod">
          <ac:chgData name="Oğuz Öztekin" userId="33c0df0f-d5fe-4bda-8f43-141ad7af67e3" providerId="ADAL" clId="{48B824AD-1B2A-47A8-8D92-6FE6E622A650}" dt="2024-12-16T11:16:36.228" v="46216"/>
          <ac:spMkLst>
            <pc:docMk/>
            <pc:sldMk cId="2007446643" sldId="283"/>
            <ac:spMk id="194" creationId="{ECD219A9-37F1-C67C-3AC5-3D5BDF33A7C2}"/>
          </ac:spMkLst>
        </pc:spChg>
        <pc:spChg chg="add del mod">
          <ac:chgData name="Oğuz Öztekin" userId="33c0df0f-d5fe-4bda-8f43-141ad7af67e3" providerId="ADAL" clId="{48B824AD-1B2A-47A8-8D92-6FE6E622A650}" dt="2024-12-16T11:16:38.934" v="46620"/>
          <ac:spMkLst>
            <pc:docMk/>
            <pc:sldMk cId="2007446643" sldId="283"/>
            <ac:spMk id="224" creationId="{8212AB65-6294-5C09-27A7-F76B8FF75505}"/>
          </ac:spMkLst>
        </pc:spChg>
        <pc:spChg chg="add del mod">
          <ac:chgData name="Oğuz Öztekin" userId="33c0df0f-d5fe-4bda-8f43-141ad7af67e3" providerId="ADAL" clId="{48B824AD-1B2A-47A8-8D92-6FE6E622A650}" dt="2024-12-16T11:16:38.933" v="46619"/>
          <ac:spMkLst>
            <pc:docMk/>
            <pc:sldMk cId="2007446643" sldId="283"/>
            <ac:spMk id="225" creationId="{06F1D541-9566-801F-1D33-6F3A39A4E0D8}"/>
          </ac:spMkLst>
        </pc:spChg>
        <pc:spChg chg="add del mod">
          <ac:chgData name="Oğuz Öztekin" userId="33c0df0f-d5fe-4bda-8f43-141ad7af67e3" providerId="ADAL" clId="{48B824AD-1B2A-47A8-8D92-6FE6E622A650}" dt="2024-12-16T11:16:38.933" v="46618"/>
          <ac:spMkLst>
            <pc:docMk/>
            <pc:sldMk cId="2007446643" sldId="283"/>
            <ac:spMk id="232" creationId="{43CFBF7C-807A-36DD-1BF2-2766965FACDC}"/>
          </ac:spMkLst>
        </pc:spChg>
        <pc:spChg chg="add del mod modVis">
          <ac:chgData name="Oğuz Öztekin" userId="33c0df0f-d5fe-4bda-8f43-141ad7af67e3" providerId="ADAL" clId="{48B824AD-1B2A-47A8-8D92-6FE6E622A650}" dt="2024-12-16T11:16:39.165" v="46968"/>
          <ac:spMkLst>
            <pc:docMk/>
            <pc:sldMk cId="2007446643" sldId="283"/>
            <ac:spMk id="234" creationId="{3DEB9F41-3F2B-D174-E96C-01D285D9C84C}"/>
          </ac:spMkLst>
        </pc:spChg>
        <pc:spChg chg="add del mod">
          <ac:chgData name="Oğuz Öztekin" userId="33c0df0f-d5fe-4bda-8f43-141ad7af67e3" providerId="ADAL" clId="{48B824AD-1B2A-47A8-8D92-6FE6E622A650}" dt="2024-12-16T11:16:46.851" v="47011"/>
          <ac:spMkLst>
            <pc:docMk/>
            <pc:sldMk cId="2007446643" sldId="283"/>
            <ac:spMk id="235" creationId="{41C3A488-9A3B-8E3F-C377-71718F41E2FE}"/>
          </ac:spMkLst>
        </pc:spChg>
        <pc:spChg chg="add del mod">
          <ac:chgData name="Oğuz Öztekin" userId="33c0df0f-d5fe-4bda-8f43-141ad7af67e3" providerId="ADAL" clId="{48B824AD-1B2A-47A8-8D92-6FE6E622A650}" dt="2024-12-16T11:16:46.851" v="47010"/>
          <ac:spMkLst>
            <pc:docMk/>
            <pc:sldMk cId="2007446643" sldId="283"/>
            <ac:spMk id="236" creationId="{CFE1DA40-7440-7962-1D77-9FD58363158D}"/>
          </ac:spMkLst>
        </pc:spChg>
        <pc:spChg chg="add del mod">
          <ac:chgData name="Oğuz Öztekin" userId="33c0df0f-d5fe-4bda-8f43-141ad7af67e3" providerId="ADAL" clId="{48B824AD-1B2A-47A8-8D92-6FE6E622A650}" dt="2024-12-16T11:16:46.850" v="47009"/>
          <ac:spMkLst>
            <pc:docMk/>
            <pc:sldMk cId="2007446643" sldId="283"/>
            <ac:spMk id="237" creationId="{8E3A2AFC-CDF3-D770-31B4-58E89B9BCE04}"/>
          </ac:spMkLst>
        </pc:spChg>
        <pc:spChg chg="add del mod">
          <ac:chgData name="Oğuz Öztekin" userId="33c0df0f-d5fe-4bda-8f43-141ad7af67e3" providerId="ADAL" clId="{48B824AD-1B2A-47A8-8D92-6FE6E622A650}" dt="2024-12-16T11:16:46.850" v="47008"/>
          <ac:spMkLst>
            <pc:docMk/>
            <pc:sldMk cId="2007446643" sldId="283"/>
            <ac:spMk id="238" creationId="{ECD2BFD8-AD74-C5D0-1372-81C36CF071AB}"/>
          </ac:spMkLst>
        </pc:spChg>
        <pc:spChg chg="add del mod modVis">
          <ac:chgData name="Oğuz Öztekin" userId="33c0df0f-d5fe-4bda-8f43-141ad7af67e3" providerId="ADAL" clId="{48B824AD-1B2A-47A8-8D92-6FE6E622A650}" dt="2024-12-16T11:16:47.350" v="48015"/>
          <ac:spMkLst>
            <pc:docMk/>
            <pc:sldMk cId="2007446643" sldId="283"/>
            <ac:spMk id="240" creationId="{5FA72CE2-4430-6D8A-98DE-1C3097090C55}"/>
          </ac:spMkLst>
        </pc:spChg>
        <pc:spChg chg="add del mod ord">
          <ac:chgData name="Oğuz Öztekin" userId="33c0df0f-d5fe-4bda-8f43-141ad7af67e3" providerId="ADAL" clId="{48B824AD-1B2A-47A8-8D92-6FE6E622A650}" dt="2024-12-16T11:17:03.027" v="48060"/>
          <ac:spMkLst>
            <pc:docMk/>
            <pc:sldMk cId="2007446643" sldId="283"/>
            <ac:spMk id="241" creationId="{951BB018-F9E4-D6F3-BDB9-17A7D1B44342}"/>
          </ac:spMkLst>
        </pc:spChg>
        <pc:spChg chg="add del mod ord">
          <ac:chgData name="Oğuz Öztekin" userId="33c0df0f-d5fe-4bda-8f43-141ad7af67e3" providerId="ADAL" clId="{48B824AD-1B2A-47A8-8D92-6FE6E622A650}" dt="2024-12-16T11:17:03.032" v="48075"/>
          <ac:spMkLst>
            <pc:docMk/>
            <pc:sldMk cId="2007446643" sldId="283"/>
            <ac:spMk id="242" creationId="{4302EB79-4268-13FA-E20C-86345E8CA4A8}"/>
          </ac:spMkLst>
        </pc:spChg>
        <pc:spChg chg="add del mod">
          <ac:chgData name="Oğuz Öztekin" userId="33c0df0f-d5fe-4bda-8f43-141ad7af67e3" providerId="ADAL" clId="{48B824AD-1B2A-47A8-8D92-6FE6E622A650}" dt="2024-12-16T11:17:03.038" v="48089"/>
          <ac:spMkLst>
            <pc:docMk/>
            <pc:sldMk cId="2007446643" sldId="283"/>
            <ac:spMk id="243" creationId="{A5AE0B63-5A04-BCF0-7CCE-34C89F7972BF}"/>
          </ac:spMkLst>
        </pc:spChg>
        <pc:spChg chg="add del mod ord">
          <ac:chgData name="Oğuz Öztekin" userId="33c0df0f-d5fe-4bda-8f43-141ad7af67e3" providerId="ADAL" clId="{48B824AD-1B2A-47A8-8D92-6FE6E622A650}" dt="2024-12-16T11:17:03.053" v="48149"/>
          <ac:spMkLst>
            <pc:docMk/>
            <pc:sldMk cId="2007446643" sldId="283"/>
            <ac:spMk id="244" creationId="{0C37936D-C1E9-AE54-EED3-A72982BC44B2}"/>
          </ac:spMkLst>
        </pc:spChg>
        <pc:spChg chg="add del mod ord">
          <ac:chgData name="Oğuz Öztekin" userId="33c0df0f-d5fe-4bda-8f43-141ad7af67e3" providerId="ADAL" clId="{48B824AD-1B2A-47A8-8D92-6FE6E622A650}" dt="2024-12-16T11:17:03.053" v="48147"/>
          <ac:spMkLst>
            <pc:docMk/>
            <pc:sldMk cId="2007446643" sldId="283"/>
            <ac:spMk id="245" creationId="{E6D561D7-2EC3-366F-F909-40B083BD5C1C}"/>
          </ac:spMkLst>
        </pc:spChg>
        <pc:spChg chg="del mod">
          <ac:chgData name="Oğuz Öztekin" userId="33c0df0f-d5fe-4bda-8f43-141ad7af67e3" providerId="ADAL" clId="{48B824AD-1B2A-47A8-8D92-6FE6E622A650}" dt="2024-12-16T11:18:10.528" v="49706"/>
          <ac:spMkLst>
            <pc:docMk/>
            <pc:sldMk cId="2007446643" sldId="283"/>
            <ac:spMk id="246" creationId="{7FD7BD1C-AFFE-2CBC-6C77-7C4F4D969D84}"/>
          </ac:spMkLst>
        </pc:spChg>
        <pc:spChg chg="del mod">
          <ac:chgData name="Oğuz Öztekin" userId="33c0df0f-d5fe-4bda-8f43-141ad7af67e3" providerId="ADAL" clId="{48B824AD-1B2A-47A8-8D92-6FE6E622A650}" dt="2024-12-16T11:18:10.528" v="49705"/>
          <ac:spMkLst>
            <pc:docMk/>
            <pc:sldMk cId="2007446643" sldId="283"/>
            <ac:spMk id="247" creationId="{4B56F505-FB05-499B-B81D-C693A25EB3F0}"/>
          </ac:spMkLst>
        </pc:spChg>
        <pc:spChg chg="del mod">
          <ac:chgData name="Oğuz Öztekin" userId="33c0df0f-d5fe-4bda-8f43-141ad7af67e3" providerId="ADAL" clId="{48B824AD-1B2A-47A8-8D92-6FE6E622A650}" dt="2024-12-16T11:18:10.528" v="49704"/>
          <ac:spMkLst>
            <pc:docMk/>
            <pc:sldMk cId="2007446643" sldId="283"/>
            <ac:spMk id="248" creationId="{E403B3A2-BA64-4E54-F961-E1069E001CD0}"/>
          </ac:spMkLst>
        </pc:spChg>
        <pc:spChg chg="del mod">
          <ac:chgData name="Oğuz Öztekin" userId="33c0df0f-d5fe-4bda-8f43-141ad7af67e3" providerId="ADAL" clId="{48B824AD-1B2A-47A8-8D92-6FE6E622A650}" dt="2024-12-16T11:18:10.528" v="49703"/>
          <ac:spMkLst>
            <pc:docMk/>
            <pc:sldMk cId="2007446643" sldId="283"/>
            <ac:spMk id="249" creationId="{694503C4-5653-89F0-5CF0-24AA857691EC}"/>
          </ac:spMkLst>
        </pc:spChg>
        <pc:spChg chg="del mod">
          <ac:chgData name="Oğuz Öztekin" userId="33c0df0f-d5fe-4bda-8f43-141ad7af67e3" providerId="ADAL" clId="{48B824AD-1B2A-47A8-8D92-6FE6E622A650}" dt="2024-12-16T11:18:10.527" v="49702"/>
          <ac:spMkLst>
            <pc:docMk/>
            <pc:sldMk cId="2007446643" sldId="283"/>
            <ac:spMk id="250" creationId="{B4E72644-B034-825E-DE4E-26D42331230B}"/>
          </ac:spMkLst>
        </pc:spChg>
        <pc:spChg chg="del mod">
          <ac:chgData name="Oğuz Öztekin" userId="33c0df0f-d5fe-4bda-8f43-141ad7af67e3" providerId="ADAL" clId="{48B824AD-1B2A-47A8-8D92-6FE6E622A650}" dt="2024-12-16T11:18:10.527" v="49701"/>
          <ac:spMkLst>
            <pc:docMk/>
            <pc:sldMk cId="2007446643" sldId="283"/>
            <ac:spMk id="251" creationId="{ACA3DF32-CD1A-FBAB-C801-69D4275850F2}"/>
          </ac:spMkLst>
        </pc:spChg>
        <pc:spChg chg="add del mod">
          <ac:chgData name="Oğuz Öztekin" userId="33c0df0f-d5fe-4bda-8f43-141ad7af67e3" providerId="ADAL" clId="{48B824AD-1B2A-47A8-8D92-6FE6E622A650}" dt="2024-12-16T11:17:03.052" v="48145"/>
          <ac:spMkLst>
            <pc:docMk/>
            <pc:sldMk cId="2007446643" sldId="283"/>
            <ac:spMk id="252" creationId="{0850BFEC-B8F7-FAE3-6284-E2E67885676E}"/>
          </ac:spMkLst>
        </pc:spChg>
        <pc:spChg chg="add del mod ord">
          <ac:chgData name="Oğuz Öztekin" userId="33c0df0f-d5fe-4bda-8f43-141ad7af67e3" providerId="ADAL" clId="{48B824AD-1B2A-47A8-8D92-6FE6E622A650}" dt="2024-12-16T11:17:03.052" v="48144"/>
          <ac:spMkLst>
            <pc:docMk/>
            <pc:sldMk cId="2007446643" sldId="283"/>
            <ac:spMk id="253" creationId="{9E116D50-786D-8197-3616-3953BA4B2DCB}"/>
          </ac:spMkLst>
        </pc:spChg>
        <pc:spChg chg="del mod">
          <ac:chgData name="Oğuz Öztekin" userId="33c0df0f-d5fe-4bda-8f43-141ad7af67e3" providerId="ADAL" clId="{48B824AD-1B2A-47A8-8D92-6FE6E622A650}" dt="2024-12-16T11:18:10.526" v="49699"/>
          <ac:spMkLst>
            <pc:docMk/>
            <pc:sldMk cId="2007446643" sldId="283"/>
            <ac:spMk id="254" creationId="{52DFEBD4-BE38-D752-2882-D8E476AF0A04}"/>
          </ac:spMkLst>
        </pc:spChg>
        <pc:spChg chg="del mod">
          <ac:chgData name="Oğuz Öztekin" userId="33c0df0f-d5fe-4bda-8f43-141ad7af67e3" providerId="ADAL" clId="{48B824AD-1B2A-47A8-8D92-6FE6E622A650}" dt="2024-12-16T11:18:10.526" v="49697"/>
          <ac:spMkLst>
            <pc:docMk/>
            <pc:sldMk cId="2007446643" sldId="283"/>
            <ac:spMk id="255" creationId="{9351DA8F-B829-EF73-2521-2120230B65D0}"/>
          </ac:spMkLst>
        </pc:spChg>
        <pc:spChg chg="del mod">
          <ac:chgData name="Oğuz Öztekin" userId="33c0df0f-d5fe-4bda-8f43-141ad7af67e3" providerId="ADAL" clId="{48B824AD-1B2A-47A8-8D92-6FE6E622A650}" dt="2024-12-16T11:18:10.525" v="49695"/>
          <ac:spMkLst>
            <pc:docMk/>
            <pc:sldMk cId="2007446643" sldId="283"/>
            <ac:spMk id="256" creationId="{46EEB765-2C08-DD2A-ADA4-9A503C689C57}"/>
          </ac:spMkLst>
        </pc:spChg>
        <pc:spChg chg="del mod">
          <ac:chgData name="Oğuz Öztekin" userId="33c0df0f-d5fe-4bda-8f43-141ad7af67e3" providerId="ADAL" clId="{48B824AD-1B2A-47A8-8D92-6FE6E622A650}" dt="2024-12-16T11:18:10.525" v="49693"/>
          <ac:spMkLst>
            <pc:docMk/>
            <pc:sldMk cId="2007446643" sldId="283"/>
            <ac:spMk id="257" creationId="{6AF04525-D344-9372-5539-C71D5DF3E369}"/>
          </ac:spMkLst>
        </pc:spChg>
        <pc:spChg chg="del mod">
          <ac:chgData name="Oğuz Öztekin" userId="33c0df0f-d5fe-4bda-8f43-141ad7af67e3" providerId="ADAL" clId="{48B824AD-1B2A-47A8-8D92-6FE6E622A650}" dt="2024-12-16T11:18:10.524" v="49691"/>
          <ac:spMkLst>
            <pc:docMk/>
            <pc:sldMk cId="2007446643" sldId="283"/>
            <ac:spMk id="258" creationId="{3A7FCF03-FE11-5E18-7D44-8691376EE2CF}"/>
          </ac:spMkLst>
        </pc:spChg>
        <pc:spChg chg="del mod">
          <ac:chgData name="Oğuz Öztekin" userId="33c0df0f-d5fe-4bda-8f43-141ad7af67e3" providerId="ADAL" clId="{48B824AD-1B2A-47A8-8D92-6FE6E622A650}" dt="2024-12-16T11:18:10.523" v="49689"/>
          <ac:spMkLst>
            <pc:docMk/>
            <pc:sldMk cId="2007446643" sldId="283"/>
            <ac:spMk id="259" creationId="{6E0A89F1-39EF-5EEA-3902-A40FB0E5C199}"/>
          </ac:spMkLst>
        </pc:spChg>
        <pc:spChg chg="del mod">
          <ac:chgData name="Oğuz Öztekin" userId="33c0df0f-d5fe-4bda-8f43-141ad7af67e3" providerId="ADAL" clId="{48B824AD-1B2A-47A8-8D92-6FE6E622A650}" dt="2024-12-16T11:18:10.523" v="49687"/>
          <ac:spMkLst>
            <pc:docMk/>
            <pc:sldMk cId="2007446643" sldId="283"/>
            <ac:spMk id="260" creationId="{8DA7BF60-AB42-D865-F9B6-43F4C71C700C}"/>
          </ac:spMkLst>
        </pc:spChg>
        <pc:spChg chg="del mod">
          <ac:chgData name="Oğuz Öztekin" userId="33c0df0f-d5fe-4bda-8f43-141ad7af67e3" providerId="ADAL" clId="{48B824AD-1B2A-47A8-8D92-6FE6E622A650}" dt="2024-12-16T11:18:10.522" v="49685"/>
          <ac:spMkLst>
            <pc:docMk/>
            <pc:sldMk cId="2007446643" sldId="283"/>
            <ac:spMk id="261" creationId="{B29BD5CB-B23E-4531-0562-B9968D35631A}"/>
          </ac:spMkLst>
        </pc:spChg>
        <pc:spChg chg="del mod">
          <ac:chgData name="Oğuz Öztekin" userId="33c0df0f-d5fe-4bda-8f43-141ad7af67e3" providerId="ADAL" clId="{48B824AD-1B2A-47A8-8D92-6FE6E622A650}" dt="2024-12-16T11:18:10.522" v="49683"/>
          <ac:spMkLst>
            <pc:docMk/>
            <pc:sldMk cId="2007446643" sldId="283"/>
            <ac:spMk id="262" creationId="{82296CC5-6927-E655-C973-3732AA747E72}"/>
          </ac:spMkLst>
        </pc:spChg>
        <pc:spChg chg="del mod">
          <ac:chgData name="Oğuz Öztekin" userId="33c0df0f-d5fe-4bda-8f43-141ad7af67e3" providerId="ADAL" clId="{48B824AD-1B2A-47A8-8D92-6FE6E622A650}" dt="2024-12-16T11:18:10.521" v="49681"/>
          <ac:spMkLst>
            <pc:docMk/>
            <pc:sldMk cId="2007446643" sldId="283"/>
            <ac:spMk id="263" creationId="{7F7297C9-FD7F-9DAF-141A-073FD998C343}"/>
          </ac:spMkLst>
        </pc:spChg>
        <pc:spChg chg="add del mod ord">
          <ac:chgData name="Oğuz Öztekin" userId="33c0df0f-d5fe-4bda-8f43-141ad7af67e3" providerId="ADAL" clId="{48B824AD-1B2A-47A8-8D92-6FE6E622A650}" dt="2024-12-16T11:17:03.051" v="48142"/>
          <ac:spMkLst>
            <pc:docMk/>
            <pc:sldMk cId="2007446643" sldId="283"/>
            <ac:spMk id="264" creationId="{1D0F3416-8BDC-A7B6-95FD-8D62D62CA14C}"/>
          </ac:spMkLst>
        </pc:spChg>
        <pc:spChg chg="add del mod">
          <ac:chgData name="Oğuz Öztekin" userId="33c0df0f-d5fe-4bda-8f43-141ad7af67e3" providerId="ADAL" clId="{48B824AD-1B2A-47A8-8D92-6FE6E622A650}" dt="2024-12-16T11:17:03.051" v="48140"/>
          <ac:spMkLst>
            <pc:docMk/>
            <pc:sldMk cId="2007446643" sldId="283"/>
            <ac:spMk id="265" creationId="{66F5CC87-DC26-A240-38E1-1753976D5D40}"/>
          </ac:spMkLst>
        </pc:spChg>
        <pc:spChg chg="add del mod ord">
          <ac:chgData name="Oğuz Öztekin" userId="33c0df0f-d5fe-4bda-8f43-141ad7af67e3" providerId="ADAL" clId="{48B824AD-1B2A-47A8-8D92-6FE6E622A650}" dt="2024-12-16T11:17:03.051" v="48139"/>
          <ac:spMkLst>
            <pc:docMk/>
            <pc:sldMk cId="2007446643" sldId="283"/>
            <ac:spMk id="266" creationId="{500C9D8D-470F-4672-8F5B-57850CACF04B}"/>
          </ac:spMkLst>
        </pc:spChg>
        <pc:spChg chg="add del mod ord">
          <ac:chgData name="Oğuz Öztekin" userId="33c0df0f-d5fe-4bda-8f43-141ad7af67e3" providerId="ADAL" clId="{48B824AD-1B2A-47A8-8D92-6FE6E622A650}" dt="2024-12-16T11:17:03.050" v="48137"/>
          <ac:spMkLst>
            <pc:docMk/>
            <pc:sldMk cId="2007446643" sldId="283"/>
            <ac:spMk id="267" creationId="{B17706F3-FD40-7C61-3F35-9CD2400D1BAE}"/>
          </ac:spMkLst>
        </pc:spChg>
        <pc:spChg chg="add del mod">
          <ac:chgData name="Oğuz Öztekin" userId="33c0df0f-d5fe-4bda-8f43-141ad7af67e3" providerId="ADAL" clId="{48B824AD-1B2A-47A8-8D92-6FE6E622A650}" dt="2024-12-16T11:17:03.050" v="48135"/>
          <ac:spMkLst>
            <pc:docMk/>
            <pc:sldMk cId="2007446643" sldId="283"/>
            <ac:spMk id="268" creationId="{76CE50D8-10ED-FE18-240A-AD08F0B5156D}"/>
          </ac:spMkLst>
        </pc:spChg>
        <pc:spChg chg="add del mod ord">
          <ac:chgData name="Oğuz Öztekin" userId="33c0df0f-d5fe-4bda-8f43-141ad7af67e3" providerId="ADAL" clId="{48B824AD-1B2A-47A8-8D92-6FE6E622A650}" dt="2024-12-16T11:17:03.050" v="48134"/>
          <ac:spMkLst>
            <pc:docMk/>
            <pc:sldMk cId="2007446643" sldId="283"/>
            <ac:spMk id="269" creationId="{9165E959-A62C-027F-E135-981C33F3FB59}"/>
          </ac:spMkLst>
        </pc:spChg>
        <pc:spChg chg="add del mod ord">
          <ac:chgData name="Oğuz Öztekin" userId="33c0df0f-d5fe-4bda-8f43-141ad7af67e3" providerId="ADAL" clId="{48B824AD-1B2A-47A8-8D92-6FE6E622A650}" dt="2024-12-16T11:17:03.049" v="48132"/>
          <ac:spMkLst>
            <pc:docMk/>
            <pc:sldMk cId="2007446643" sldId="283"/>
            <ac:spMk id="270" creationId="{68FAF06A-AF34-7A5D-06DC-6C4B0BB6EA73}"/>
          </ac:spMkLst>
        </pc:spChg>
        <pc:spChg chg="add del mod">
          <ac:chgData name="Oğuz Öztekin" userId="33c0df0f-d5fe-4bda-8f43-141ad7af67e3" providerId="ADAL" clId="{48B824AD-1B2A-47A8-8D92-6FE6E622A650}" dt="2024-12-16T11:17:03.049" v="48130"/>
          <ac:spMkLst>
            <pc:docMk/>
            <pc:sldMk cId="2007446643" sldId="283"/>
            <ac:spMk id="271" creationId="{A47808E6-E897-013A-CB16-74125DA49642}"/>
          </ac:spMkLst>
        </pc:spChg>
        <pc:spChg chg="add del mod ord">
          <ac:chgData name="Oğuz Öztekin" userId="33c0df0f-d5fe-4bda-8f43-141ad7af67e3" providerId="ADAL" clId="{48B824AD-1B2A-47A8-8D92-6FE6E622A650}" dt="2024-12-16T11:17:03.048" v="48129"/>
          <ac:spMkLst>
            <pc:docMk/>
            <pc:sldMk cId="2007446643" sldId="283"/>
            <ac:spMk id="272" creationId="{0A129091-D38F-8A38-C366-7C6553B620D7}"/>
          </ac:spMkLst>
        </pc:spChg>
        <pc:spChg chg="add del mod ord">
          <ac:chgData name="Oğuz Öztekin" userId="33c0df0f-d5fe-4bda-8f43-141ad7af67e3" providerId="ADAL" clId="{48B824AD-1B2A-47A8-8D92-6FE6E622A650}" dt="2024-12-16T11:17:03.048" v="48127"/>
          <ac:spMkLst>
            <pc:docMk/>
            <pc:sldMk cId="2007446643" sldId="283"/>
            <ac:spMk id="273" creationId="{97CCEF2E-6473-C887-A13B-82A5ECA53BBF}"/>
          </ac:spMkLst>
        </pc:spChg>
        <pc:spChg chg="add del mod">
          <ac:chgData name="Oğuz Öztekin" userId="33c0df0f-d5fe-4bda-8f43-141ad7af67e3" providerId="ADAL" clId="{48B824AD-1B2A-47A8-8D92-6FE6E622A650}" dt="2024-12-16T11:17:03.048" v="48125"/>
          <ac:spMkLst>
            <pc:docMk/>
            <pc:sldMk cId="2007446643" sldId="283"/>
            <ac:spMk id="274" creationId="{97DA5E57-BDDE-A63A-E9F2-B2EFC3AB128E}"/>
          </ac:spMkLst>
        </pc:spChg>
        <pc:spChg chg="add del mod ord">
          <ac:chgData name="Oğuz Öztekin" userId="33c0df0f-d5fe-4bda-8f43-141ad7af67e3" providerId="ADAL" clId="{48B824AD-1B2A-47A8-8D92-6FE6E622A650}" dt="2024-12-16T11:17:03.047" v="48124"/>
          <ac:spMkLst>
            <pc:docMk/>
            <pc:sldMk cId="2007446643" sldId="283"/>
            <ac:spMk id="275" creationId="{81C690AB-479C-4ADC-62C8-FB42A4E61AB6}"/>
          </ac:spMkLst>
        </pc:spChg>
        <pc:spChg chg="add del mod ord">
          <ac:chgData name="Oğuz Öztekin" userId="33c0df0f-d5fe-4bda-8f43-141ad7af67e3" providerId="ADAL" clId="{48B824AD-1B2A-47A8-8D92-6FE6E622A650}" dt="2024-12-16T11:17:03.047" v="48122"/>
          <ac:spMkLst>
            <pc:docMk/>
            <pc:sldMk cId="2007446643" sldId="283"/>
            <ac:spMk id="276" creationId="{193FF71D-E566-B087-1B7C-9F044B3780D2}"/>
          </ac:spMkLst>
        </pc:spChg>
        <pc:spChg chg="add del mod">
          <ac:chgData name="Oğuz Öztekin" userId="33c0df0f-d5fe-4bda-8f43-141ad7af67e3" providerId="ADAL" clId="{48B824AD-1B2A-47A8-8D92-6FE6E622A650}" dt="2024-12-16T11:17:03.046" v="48120"/>
          <ac:spMkLst>
            <pc:docMk/>
            <pc:sldMk cId="2007446643" sldId="283"/>
            <ac:spMk id="277" creationId="{F8D7C775-D1D0-C54E-1BB3-A8A870AF5EBD}"/>
          </ac:spMkLst>
        </pc:spChg>
        <pc:spChg chg="add del mod ord">
          <ac:chgData name="Oğuz Öztekin" userId="33c0df0f-d5fe-4bda-8f43-141ad7af67e3" providerId="ADAL" clId="{48B824AD-1B2A-47A8-8D92-6FE6E622A650}" dt="2024-12-16T11:17:03.046" v="48119"/>
          <ac:spMkLst>
            <pc:docMk/>
            <pc:sldMk cId="2007446643" sldId="283"/>
            <ac:spMk id="278" creationId="{3A40D3AE-69BC-36AA-C8E6-AF4494B5D9D5}"/>
          </ac:spMkLst>
        </pc:spChg>
        <pc:spChg chg="add del mod ord">
          <ac:chgData name="Oğuz Öztekin" userId="33c0df0f-d5fe-4bda-8f43-141ad7af67e3" providerId="ADAL" clId="{48B824AD-1B2A-47A8-8D92-6FE6E622A650}" dt="2024-12-16T11:17:03.046" v="48117"/>
          <ac:spMkLst>
            <pc:docMk/>
            <pc:sldMk cId="2007446643" sldId="283"/>
            <ac:spMk id="279" creationId="{CF8E4931-A7B2-6B69-1040-2013D36AC4B3}"/>
          </ac:spMkLst>
        </pc:spChg>
        <pc:spChg chg="add del mod">
          <ac:chgData name="Oğuz Öztekin" userId="33c0df0f-d5fe-4bda-8f43-141ad7af67e3" providerId="ADAL" clId="{48B824AD-1B2A-47A8-8D92-6FE6E622A650}" dt="2024-12-16T11:17:03.045" v="48115"/>
          <ac:spMkLst>
            <pc:docMk/>
            <pc:sldMk cId="2007446643" sldId="283"/>
            <ac:spMk id="280" creationId="{4CEDD575-EF73-FEDB-71F0-33B861EA6653}"/>
          </ac:spMkLst>
        </pc:spChg>
        <pc:spChg chg="add del mod ord">
          <ac:chgData name="Oğuz Öztekin" userId="33c0df0f-d5fe-4bda-8f43-141ad7af67e3" providerId="ADAL" clId="{48B824AD-1B2A-47A8-8D92-6FE6E622A650}" dt="2024-12-16T11:17:03.045" v="48114"/>
          <ac:spMkLst>
            <pc:docMk/>
            <pc:sldMk cId="2007446643" sldId="283"/>
            <ac:spMk id="281" creationId="{936C11E2-3ECA-6AE7-5092-06BFF24F30FD}"/>
          </ac:spMkLst>
        </pc:spChg>
        <pc:spChg chg="add del mod ord">
          <ac:chgData name="Oğuz Öztekin" userId="33c0df0f-d5fe-4bda-8f43-141ad7af67e3" providerId="ADAL" clId="{48B824AD-1B2A-47A8-8D92-6FE6E622A650}" dt="2024-12-16T11:17:03.044" v="48112"/>
          <ac:spMkLst>
            <pc:docMk/>
            <pc:sldMk cId="2007446643" sldId="283"/>
            <ac:spMk id="283" creationId="{27F243DC-05F0-6DE5-C755-4803267BEFBE}"/>
          </ac:spMkLst>
        </pc:spChg>
        <pc:spChg chg="mod">
          <ac:chgData name="Oğuz Öztekin" userId="33c0df0f-d5fe-4bda-8f43-141ad7af67e3" providerId="ADAL" clId="{48B824AD-1B2A-47A8-8D92-6FE6E622A650}" dt="2024-12-16T11:19:21.103" v="52440"/>
          <ac:spMkLst>
            <pc:docMk/>
            <pc:sldMk cId="2007446643" sldId="283"/>
            <ac:spMk id="284" creationId="{82637249-2F31-9DE2-D26C-5975CF7ED98F}"/>
          </ac:spMkLst>
        </pc:spChg>
        <pc:spChg chg="mod">
          <ac:chgData name="Oğuz Öztekin" userId="33c0df0f-d5fe-4bda-8f43-141ad7af67e3" providerId="ADAL" clId="{48B824AD-1B2A-47A8-8D92-6FE6E622A650}" dt="2024-12-16T11:19:21.103" v="52437"/>
          <ac:spMkLst>
            <pc:docMk/>
            <pc:sldMk cId="2007446643" sldId="283"/>
            <ac:spMk id="285" creationId="{AC014952-765E-58B1-8663-3CD96289C55E}"/>
          </ac:spMkLst>
        </pc:spChg>
        <pc:spChg chg="add del mod">
          <ac:chgData name="Oğuz Öztekin" userId="33c0df0f-d5fe-4bda-8f43-141ad7af67e3" providerId="ADAL" clId="{48B824AD-1B2A-47A8-8D92-6FE6E622A650}" dt="2024-12-16T11:17:03.044" v="48110"/>
          <ac:spMkLst>
            <pc:docMk/>
            <pc:sldMk cId="2007446643" sldId="283"/>
            <ac:spMk id="287" creationId="{E36CF1C9-30BA-822D-41ED-FC4E6A06B47B}"/>
          </ac:spMkLst>
        </pc:spChg>
        <pc:spChg chg="add del mod modVis">
          <ac:chgData name="Oğuz Öztekin" userId="33c0df0f-d5fe-4bda-8f43-141ad7af67e3" providerId="ADAL" clId="{48B824AD-1B2A-47A8-8D92-6FE6E622A650}" dt="2024-12-16T11:17:17.690" v="48902"/>
          <ac:spMkLst>
            <pc:docMk/>
            <pc:sldMk cId="2007446643" sldId="283"/>
            <ac:spMk id="288" creationId="{FC1A166D-B65B-236D-20FB-849D63788337}"/>
          </ac:spMkLst>
        </pc:spChg>
        <pc:spChg chg="add del mod modVis">
          <ac:chgData name="Oğuz Öztekin" userId="33c0df0f-d5fe-4bda-8f43-141ad7af67e3" providerId="ADAL" clId="{48B824AD-1B2A-47A8-8D92-6FE6E622A650}" dt="2024-12-16T11:17:21.659" v="49059"/>
          <ac:spMkLst>
            <pc:docMk/>
            <pc:sldMk cId="2007446643" sldId="283"/>
            <ac:spMk id="290" creationId="{8F35D9E3-9E71-3ED0-D56E-9337DBB5D26F}"/>
          </ac:spMkLst>
        </pc:spChg>
        <pc:spChg chg="add del mod modVis">
          <ac:chgData name="Oğuz Öztekin" userId="33c0df0f-d5fe-4bda-8f43-141ad7af67e3" providerId="ADAL" clId="{48B824AD-1B2A-47A8-8D92-6FE6E622A650}" dt="2024-12-16T11:17:28.336" v="49216"/>
          <ac:spMkLst>
            <pc:docMk/>
            <pc:sldMk cId="2007446643" sldId="283"/>
            <ac:spMk id="292" creationId="{9371A9FB-1818-82F5-1AFE-CA798F996A25}"/>
          </ac:spMkLst>
        </pc:spChg>
        <pc:spChg chg="add del mod modVis">
          <ac:chgData name="Oğuz Öztekin" userId="33c0df0f-d5fe-4bda-8f43-141ad7af67e3" providerId="ADAL" clId="{48B824AD-1B2A-47A8-8D92-6FE6E622A650}" dt="2024-12-16T11:18:04.596" v="49497"/>
          <ac:spMkLst>
            <pc:docMk/>
            <pc:sldMk cId="2007446643" sldId="283"/>
            <ac:spMk id="295" creationId="{A05E88A2-2117-653F-A5D3-E6DC89A9DDF8}"/>
          </ac:spMkLst>
        </pc:spChg>
        <pc:spChg chg="add del mod modVis">
          <ac:chgData name="Oğuz Öztekin" userId="33c0df0f-d5fe-4bda-8f43-141ad7af67e3" providerId="ADAL" clId="{48B824AD-1B2A-47A8-8D92-6FE6E622A650}" dt="2024-12-16T11:18:06.367" v="49654"/>
          <ac:spMkLst>
            <pc:docMk/>
            <pc:sldMk cId="2007446643" sldId="283"/>
            <ac:spMk id="297" creationId="{CD7E386F-83B0-E437-CDEC-1087F02E04C9}"/>
          </ac:spMkLst>
        </pc:spChg>
        <pc:spChg chg="add del mod modVis">
          <ac:chgData name="Oğuz Öztekin" userId="33c0df0f-d5fe-4bda-8f43-141ad7af67e3" providerId="ADAL" clId="{48B824AD-1B2A-47A8-8D92-6FE6E622A650}" dt="2024-12-16T11:18:14.419" v="50277"/>
          <ac:spMkLst>
            <pc:docMk/>
            <pc:sldMk cId="2007446643" sldId="283"/>
            <ac:spMk id="299" creationId="{1A95E31B-7778-D96A-D55E-A7D609939365}"/>
          </ac:spMkLst>
        </pc:spChg>
        <pc:spChg chg="add del mod">
          <ac:chgData name="Oğuz Öztekin" userId="33c0df0f-d5fe-4bda-8f43-141ad7af67e3" providerId="ADAL" clId="{48B824AD-1B2A-47A8-8D92-6FE6E622A650}" dt="2024-12-16T11:18:26.166" v="51084"/>
          <ac:spMkLst>
            <pc:docMk/>
            <pc:sldMk cId="2007446643" sldId="283"/>
            <ac:spMk id="300" creationId="{B3ED443B-746B-1581-55F8-84F734662181}"/>
          </ac:spMkLst>
        </pc:spChg>
        <pc:spChg chg="add del mod">
          <ac:chgData name="Oğuz Öztekin" userId="33c0df0f-d5fe-4bda-8f43-141ad7af67e3" providerId="ADAL" clId="{48B824AD-1B2A-47A8-8D92-6FE6E622A650}" dt="2024-12-16T11:18:26.164" v="51078"/>
          <ac:spMkLst>
            <pc:docMk/>
            <pc:sldMk cId="2007446643" sldId="283"/>
            <ac:spMk id="301" creationId="{DBA8978C-8602-EB06-79D3-9121554835F9}"/>
          </ac:spMkLst>
        </pc:spChg>
        <pc:spChg chg="add del mod">
          <ac:chgData name="Oğuz Öztekin" userId="33c0df0f-d5fe-4bda-8f43-141ad7af67e3" providerId="ADAL" clId="{48B824AD-1B2A-47A8-8D92-6FE6E622A650}" dt="2024-12-16T11:18:38.186" v="51335"/>
          <ac:spMkLst>
            <pc:docMk/>
            <pc:sldMk cId="2007446643" sldId="283"/>
            <ac:spMk id="302" creationId="{F5B10A35-0885-CEEB-38BC-DCC2E9D00661}"/>
          </ac:spMkLst>
        </pc:spChg>
        <pc:spChg chg="add del mod">
          <ac:chgData name="Oğuz Öztekin" userId="33c0df0f-d5fe-4bda-8f43-141ad7af67e3" providerId="ADAL" clId="{48B824AD-1B2A-47A8-8D92-6FE6E622A650}" dt="2024-12-16T11:18:26.162" v="51069"/>
          <ac:spMkLst>
            <pc:docMk/>
            <pc:sldMk cId="2007446643" sldId="283"/>
            <ac:spMk id="303" creationId="{448FD1F8-A0E3-0FE3-23C9-E73171699837}"/>
          </ac:spMkLst>
        </pc:spChg>
        <pc:spChg chg="add del mod">
          <ac:chgData name="Oğuz Öztekin" userId="33c0df0f-d5fe-4bda-8f43-141ad7af67e3" providerId="ADAL" clId="{48B824AD-1B2A-47A8-8D92-6FE6E622A650}" dt="2024-12-16T11:18:26.160" v="51063"/>
          <ac:spMkLst>
            <pc:docMk/>
            <pc:sldMk cId="2007446643" sldId="283"/>
            <ac:spMk id="304" creationId="{B0063266-D53B-E51E-C755-6D9161A1D00B}"/>
          </ac:spMkLst>
        </pc:spChg>
        <pc:spChg chg="add del mod">
          <ac:chgData name="Oğuz Öztekin" userId="33c0df0f-d5fe-4bda-8f43-141ad7af67e3" providerId="ADAL" clId="{48B824AD-1B2A-47A8-8D92-6FE6E622A650}" dt="2024-12-16T11:18:26.159" v="51060"/>
          <ac:spMkLst>
            <pc:docMk/>
            <pc:sldMk cId="2007446643" sldId="283"/>
            <ac:spMk id="305" creationId="{AFE027C0-68D7-0585-7F84-4BBE9F66BF8E}"/>
          </ac:spMkLst>
        </pc:spChg>
        <pc:spChg chg="add del mod modVis">
          <ac:chgData name="Oğuz Öztekin" userId="33c0df0f-d5fe-4bda-8f43-141ad7af67e3" providerId="ADAL" clId="{48B824AD-1B2A-47A8-8D92-6FE6E622A650}" dt="2024-12-16T11:18:19.973" v="50513"/>
          <ac:spMkLst>
            <pc:docMk/>
            <pc:sldMk cId="2007446643" sldId="283"/>
            <ac:spMk id="313" creationId="{8DBA7FF4-13E3-C08C-C14E-937B1FBEE371}"/>
          </ac:spMkLst>
        </pc:spChg>
        <pc:spChg chg="add del mod modVis">
          <ac:chgData name="Oğuz Öztekin" userId="33c0df0f-d5fe-4bda-8f43-141ad7af67e3" providerId="ADAL" clId="{48B824AD-1B2A-47A8-8D92-6FE6E622A650}" dt="2024-12-16T11:18:23.650" v="51004"/>
          <ac:spMkLst>
            <pc:docMk/>
            <pc:sldMk cId="2007446643" sldId="283"/>
            <ac:spMk id="315" creationId="{4F80844C-0C83-5AFB-7F04-1CA36436E1B1}"/>
          </ac:spMkLst>
        </pc:spChg>
        <pc:spChg chg="add del mod">
          <ac:chgData name="Oğuz Öztekin" userId="33c0df0f-d5fe-4bda-8f43-141ad7af67e3" providerId="ADAL" clId="{48B824AD-1B2A-47A8-8D92-6FE6E622A650}" dt="2024-12-16T11:18:26.158" v="51054"/>
          <ac:spMkLst>
            <pc:docMk/>
            <pc:sldMk cId="2007446643" sldId="283"/>
            <ac:spMk id="316" creationId="{77A8221E-F5AA-97E5-7EBB-1A93F9A53FE5}"/>
          </ac:spMkLst>
        </pc:spChg>
        <pc:spChg chg="add del mod">
          <ac:chgData name="Oğuz Öztekin" userId="33c0df0f-d5fe-4bda-8f43-141ad7af67e3" providerId="ADAL" clId="{48B824AD-1B2A-47A8-8D92-6FE6E622A650}" dt="2024-12-16T11:18:26.157" v="51051"/>
          <ac:spMkLst>
            <pc:docMk/>
            <pc:sldMk cId="2007446643" sldId="283"/>
            <ac:spMk id="317" creationId="{F2AB3FCB-421C-9316-D9DC-C95D76A4A10B}"/>
          </ac:spMkLst>
        </pc:spChg>
        <pc:spChg chg="add del mod">
          <ac:chgData name="Oğuz Öztekin" userId="33c0df0f-d5fe-4bda-8f43-141ad7af67e3" providerId="ADAL" clId="{48B824AD-1B2A-47A8-8D92-6FE6E622A650}" dt="2024-12-16T11:18:38.186" v="51337"/>
          <ac:spMkLst>
            <pc:docMk/>
            <pc:sldMk cId="2007446643" sldId="283"/>
            <ac:spMk id="318" creationId="{DD6532A2-E4CA-C785-B3CB-B7746DC6651D}"/>
          </ac:spMkLst>
        </pc:spChg>
        <pc:spChg chg="add del mod">
          <ac:chgData name="Oğuz Öztekin" userId="33c0df0f-d5fe-4bda-8f43-141ad7af67e3" providerId="ADAL" clId="{48B824AD-1B2A-47A8-8D92-6FE6E622A650}" dt="2024-12-16T11:18:26.156" v="51048"/>
          <ac:spMkLst>
            <pc:docMk/>
            <pc:sldMk cId="2007446643" sldId="283"/>
            <ac:spMk id="319" creationId="{403D2604-413E-D6D3-256C-6F9BB243E9DB}"/>
          </ac:spMkLst>
        </pc:spChg>
        <pc:graphicFrameChg chg="mod">
          <ac:chgData name="Oğuz Öztekin" userId="33c0df0f-d5fe-4bda-8f43-141ad7af67e3" providerId="ADAL" clId="{48B824AD-1B2A-47A8-8D92-6FE6E622A650}" dt="2024-12-16T11:19:21.105" v="52446"/>
          <ac:graphicFrameMkLst>
            <pc:docMk/>
            <pc:sldMk cId="2007446643" sldId="283"/>
            <ac:graphicFrameMk id="3" creationId="{E418FDB3-68EC-E483-A5C7-C27EB9BEEE7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2:53.329" v="45868" actId="478"/>
          <ac:graphicFrameMkLst>
            <pc:docMk/>
            <pc:sldMk cId="2007446643" sldId="283"/>
            <ac:graphicFrameMk id="5" creationId="{14779884-AE7B-AD24-CB23-0BDEEA58129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10.529" v="49708"/>
          <ac:graphicFrameMkLst>
            <pc:docMk/>
            <pc:sldMk cId="2007446643" sldId="283"/>
            <ac:graphicFrameMk id="24" creationId="{999258AC-E513-C960-1E3C-2770AC5A0670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12:38.821" v="45330" actId="1076"/>
          <ac:graphicFrameMkLst>
            <pc:docMk/>
            <pc:sldMk cId="2007446643" sldId="283"/>
            <ac:graphicFrameMk id="26" creationId="{713FB04C-CEEE-6C32-063B-D4603A14B11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6:36.438" v="46488"/>
          <ac:graphicFrameMkLst>
            <pc:docMk/>
            <pc:sldMk cId="2007446643" sldId="283"/>
            <ac:graphicFrameMk id="29" creationId="{F304A50F-627A-DF7D-2593-26D68EDD4DC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03.101" v="48280"/>
          <ac:graphicFrameMkLst>
            <pc:docMk/>
            <pc:sldMk cId="2007446643" sldId="283"/>
            <ac:graphicFrameMk id="54" creationId="{E3827764-F724-450F-35BF-C7F12E59CE5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11.506" v="48453"/>
          <ac:graphicFrameMkLst>
            <pc:docMk/>
            <pc:sldMk cId="2007446643" sldId="283"/>
            <ac:graphicFrameMk id="59" creationId="{5B5F7E5E-3D7D-3281-2736-0290C26E1883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14.270" v="48626"/>
          <ac:graphicFrameMkLst>
            <pc:docMk/>
            <pc:sldMk cId="2007446643" sldId="283"/>
            <ac:graphicFrameMk id="61" creationId="{A6909E06-CA2E-A1D0-21A9-C40AF85084F2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17.651" v="48799"/>
          <ac:graphicFrameMkLst>
            <pc:docMk/>
            <pc:sldMk cId="2007446643" sldId="283"/>
            <ac:graphicFrameMk id="63" creationId="{C80389DA-75DC-A06F-4459-FDF22A20AA3E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26.224" v="51200"/>
          <ac:graphicFrameMkLst>
            <pc:docMk/>
            <pc:sldMk cId="2007446643" sldId="283"/>
            <ac:graphicFrameMk id="68" creationId="{A2EF2EE6-25CA-CD4E-CA56-06141E538E0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38.199" v="51375"/>
          <ac:graphicFrameMkLst>
            <pc:docMk/>
            <pc:sldMk cId="2007446643" sldId="283"/>
            <ac:graphicFrameMk id="76" creationId="{CF537691-3ED7-C010-EA0F-D0836EFA95E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42.724" v="51471"/>
          <ac:graphicFrameMkLst>
            <pc:docMk/>
            <pc:sldMk cId="2007446643" sldId="283"/>
            <ac:graphicFrameMk id="78" creationId="{1CE6E0D8-10D3-69A7-FB66-F638E687A9A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54.494" v="51552"/>
          <ac:graphicFrameMkLst>
            <pc:docMk/>
            <pc:sldMk cId="2007446643" sldId="283"/>
            <ac:graphicFrameMk id="80" creationId="{A434B9C3-1EA2-459C-FD8D-3022ABD3AC26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10.598" v="51986"/>
          <ac:graphicFrameMkLst>
            <pc:docMk/>
            <pc:sldMk cId="2007446643" sldId="283"/>
            <ac:graphicFrameMk id="82" creationId="{1D47C297-69B2-D833-2CD7-66F7074685B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12.721" v="52206"/>
          <ac:graphicFrameMkLst>
            <pc:docMk/>
            <pc:sldMk cId="2007446643" sldId="283"/>
            <ac:graphicFrameMk id="162" creationId="{BCED84FC-EAAD-1227-5219-7F7F79415DB9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19.078" v="52305"/>
          <ac:graphicFrameMkLst>
            <pc:docMk/>
            <pc:sldMk cId="2007446643" sldId="283"/>
            <ac:graphicFrameMk id="165" creationId="{E24DA886-47EB-5BC0-3477-B6E8E3BC005C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9:21.077" v="52404"/>
          <ac:graphicFrameMkLst>
            <pc:docMk/>
            <pc:sldMk cId="2007446643" sldId="283"/>
            <ac:graphicFrameMk id="167" creationId="{BA7DAE30-F5A2-761E-F648-D49197783BC8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19:21.101" v="52430"/>
          <ac:graphicFrameMkLst>
            <pc:docMk/>
            <pc:sldMk cId="2007446643" sldId="283"/>
            <ac:graphicFrameMk id="169" creationId="{DFB48917-7568-E8E6-9D7E-9669A66785DF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6:39.121" v="46876"/>
          <ac:graphicFrameMkLst>
            <pc:docMk/>
            <pc:sldMk cId="2007446643" sldId="283"/>
            <ac:graphicFrameMk id="233" creationId="{24197DDF-5FC7-A341-76F1-B53B36F6116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6:47.292" v="47852"/>
          <ac:graphicFrameMkLst>
            <pc:docMk/>
            <pc:sldMk cId="2007446643" sldId="283"/>
            <ac:graphicFrameMk id="239" creationId="{D7816F02-AE83-2D2C-5B04-3EFE4EE6D0EE}"/>
          </ac:graphicFrameMkLst>
        </pc:graphicFrameChg>
        <pc:graphicFrameChg chg="add del">
          <ac:chgData name="Oğuz Öztekin" userId="33c0df0f-d5fe-4bda-8f43-141ad7af67e3" providerId="ADAL" clId="{48B824AD-1B2A-47A8-8D92-6FE6E622A650}" dt="2024-12-16T11:12:52.129" v="45783" actId="478"/>
          <ac:graphicFrameMkLst>
            <pc:docMk/>
            <pc:sldMk cId="2007446643" sldId="283"/>
            <ac:graphicFrameMk id="282" creationId="{1FBAC997-32D4-960B-5DCB-5B6ADC6EDA00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21.620" v="48956"/>
          <ac:graphicFrameMkLst>
            <pc:docMk/>
            <pc:sldMk cId="2007446643" sldId="283"/>
            <ac:graphicFrameMk id="289" creationId="{C3C2A3B8-EF70-D2FC-6C65-6308E7FB844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7:28.297" v="49113"/>
          <ac:graphicFrameMkLst>
            <pc:docMk/>
            <pc:sldMk cId="2007446643" sldId="283"/>
            <ac:graphicFrameMk id="291" creationId="{C067B461-3F02-BADA-0C74-5AD350A749A8}"/>
          </ac:graphicFrameMkLst>
        </pc:graphicFrameChg>
        <pc:graphicFrameChg chg="del mod ord">
          <ac:chgData name="Oğuz Öztekin" userId="33c0df0f-d5fe-4bda-8f43-141ad7af67e3" providerId="ADAL" clId="{48B824AD-1B2A-47A8-8D92-6FE6E622A650}" dt="2024-12-16T11:16:25.672" v="46064"/>
          <ac:graphicFrameMkLst>
            <pc:docMk/>
            <pc:sldMk cId="2007446643" sldId="283"/>
            <ac:graphicFrameMk id="293" creationId="{371F88BE-86B6-DAE5-8155-B0BDB5B92015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04.548" v="49384"/>
          <ac:graphicFrameMkLst>
            <pc:docMk/>
            <pc:sldMk cId="2007446643" sldId="283"/>
            <ac:graphicFrameMk id="294" creationId="{CC9E85C2-2F3D-5B9B-8EE9-17DDE84ABBAB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06.327" v="49551"/>
          <ac:graphicFrameMkLst>
            <pc:docMk/>
            <pc:sldMk cId="2007446643" sldId="283"/>
            <ac:graphicFrameMk id="296" creationId="{22D04A9C-D1FE-B33C-D36E-EF7EC2EECE7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14.385" v="50198"/>
          <ac:graphicFrameMkLst>
            <pc:docMk/>
            <pc:sldMk cId="2007446643" sldId="283"/>
            <ac:graphicFrameMk id="298" creationId="{FAA66B9F-9536-9F77-AF8D-C2A4516F1371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19.944" v="50444"/>
          <ac:graphicFrameMkLst>
            <pc:docMk/>
            <pc:sldMk cId="2007446643" sldId="283"/>
            <ac:graphicFrameMk id="312" creationId="{FB6CFE32-0C60-DF7D-16FD-3B22EEB31958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18:23.613" v="50913"/>
          <ac:graphicFrameMkLst>
            <pc:docMk/>
            <pc:sldMk cId="2007446643" sldId="283"/>
            <ac:graphicFrameMk id="314" creationId="{4A436C58-0ACA-441A-E18D-26281251CE07}"/>
          </ac:graphicFrameMkLst>
        </pc:graphicFrameChg>
        <pc:cxnChg chg="del mod ord">
          <ac:chgData name="Oğuz Öztekin" userId="33c0df0f-d5fe-4bda-8f43-141ad7af67e3" providerId="ADAL" clId="{48B824AD-1B2A-47A8-8D92-6FE6E622A650}" dt="2024-12-16T11:18:10.515" v="49662"/>
          <ac:cxnSpMkLst>
            <pc:docMk/>
            <pc:sldMk cId="2007446643" sldId="283"/>
            <ac:cxnSpMk id="7" creationId="{563EAFD6-F758-9A03-E162-71400F275668}"/>
          </ac:cxnSpMkLst>
        </pc:cxnChg>
        <pc:cxnChg chg="del mod ord">
          <ac:chgData name="Oğuz Öztekin" userId="33c0df0f-d5fe-4bda-8f43-141ad7af67e3" providerId="ADAL" clId="{48B824AD-1B2A-47A8-8D92-6FE6E622A650}" dt="2024-12-16T11:18:10.515" v="49660"/>
          <ac:cxnSpMkLst>
            <pc:docMk/>
            <pc:sldMk cId="2007446643" sldId="283"/>
            <ac:cxnSpMk id="8" creationId="{E1F93894-515F-A34D-BF01-32F222A9D7CD}"/>
          </ac:cxnSpMkLst>
        </pc:cxnChg>
        <pc:cxnChg chg="del mod ord">
          <ac:chgData name="Oğuz Öztekin" userId="33c0df0f-d5fe-4bda-8f43-141ad7af67e3" providerId="ADAL" clId="{48B824AD-1B2A-47A8-8D92-6FE6E622A650}" dt="2024-12-16T11:18:10.514" v="49658"/>
          <ac:cxnSpMkLst>
            <pc:docMk/>
            <pc:sldMk cId="2007446643" sldId="283"/>
            <ac:cxnSpMk id="9" creationId="{618C0DD4-B5B7-FB7B-384A-549C547E84B6}"/>
          </ac:cxnSpMkLst>
        </pc:cxnChg>
        <pc:cxnChg chg="del mod ord">
          <ac:chgData name="Oğuz Öztekin" userId="33c0df0f-d5fe-4bda-8f43-141ad7af67e3" providerId="ADAL" clId="{48B824AD-1B2A-47A8-8D92-6FE6E622A650}" dt="2024-12-16T11:18:10.520" v="49678"/>
          <ac:cxnSpMkLst>
            <pc:docMk/>
            <pc:sldMk cId="2007446643" sldId="283"/>
            <ac:cxnSpMk id="11" creationId="{D0258EAF-59B5-66F5-2FAA-0E504352809F}"/>
          </ac:cxnSpMkLst>
        </pc:cxnChg>
        <pc:cxnChg chg="add del mod ord">
          <ac:chgData name="Oğuz Öztekin" userId="33c0df0f-d5fe-4bda-8f43-141ad7af67e3" providerId="ADAL" clId="{48B824AD-1B2A-47A8-8D92-6FE6E622A650}" dt="2024-12-16T11:18:38.188" v="51340"/>
          <ac:cxnSpMkLst>
            <pc:docMk/>
            <pc:sldMk cId="2007446643" sldId="283"/>
            <ac:cxnSpMk id="47" creationId="{8DB84D1B-F782-F5B4-FE81-1F2749E0F0C1}"/>
          </ac:cxnSpMkLst>
        </pc:cxnChg>
        <pc:cxnChg chg="add del mod ord">
          <ac:chgData name="Oğuz Öztekin" userId="33c0df0f-d5fe-4bda-8f43-141ad7af67e3" providerId="ADAL" clId="{48B824AD-1B2A-47A8-8D92-6FE6E622A650}" dt="2024-12-16T11:18:26.166" v="51083"/>
          <ac:cxnSpMkLst>
            <pc:docMk/>
            <pc:sldMk cId="2007446643" sldId="283"/>
            <ac:cxnSpMk id="48" creationId="{E8EED7FD-2798-893E-0485-420C35B8A648}"/>
          </ac:cxnSpMkLst>
        </pc:cxnChg>
        <pc:cxnChg chg="add del mod ord">
          <ac:chgData name="Oğuz Öztekin" userId="33c0df0f-d5fe-4bda-8f43-141ad7af67e3" providerId="ADAL" clId="{48B824AD-1B2A-47A8-8D92-6FE6E622A650}" dt="2024-12-16T11:18:26.164" v="51077"/>
          <ac:cxnSpMkLst>
            <pc:docMk/>
            <pc:sldMk cId="2007446643" sldId="283"/>
            <ac:cxnSpMk id="49" creationId="{284A34F9-BB3B-41F8-2D8C-E6E2BC2F16E9}"/>
          </ac:cxnSpMkLst>
        </pc:cxnChg>
        <pc:cxnChg chg="add del mod ord">
          <ac:chgData name="Oğuz Öztekin" userId="33c0df0f-d5fe-4bda-8f43-141ad7af67e3" providerId="ADAL" clId="{48B824AD-1B2A-47A8-8D92-6FE6E622A650}" dt="2024-12-16T11:18:26.163" v="51074"/>
          <ac:cxnSpMkLst>
            <pc:docMk/>
            <pc:sldMk cId="2007446643" sldId="283"/>
            <ac:cxnSpMk id="50" creationId="{BA05BDAF-E7D3-DCDE-D6B0-2E988918F78F}"/>
          </ac:cxnSpMkLst>
        </pc:cxnChg>
        <pc:cxnChg chg="add del mod ord">
          <ac:chgData name="Oğuz Öztekin" userId="33c0df0f-d5fe-4bda-8f43-141ad7af67e3" providerId="ADAL" clId="{48B824AD-1B2A-47A8-8D92-6FE6E622A650}" dt="2024-12-16T11:18:26.162" v="51068"/>
          <ac:cxnSpMkLst>
            <pc:docMk/>
            <pc:sldMk cId="2007446643" sldId="283"/>
            <ac:cxnSpMk id="51" creationId="{9596225A-77A1-6AD8-1748-BF30F71B85EA}"/>
          </ac:cxnSpMkLst>
        </pc:cxnChg>
        <pc:cxnChg chg="add del mod ord">
          <ac:chgData name="Oğuz Öztekin" userId="33c0df0f-d5fe-4bda-8f43-141ad7af67e3" providerId="ADAL" clId="{48B824AD-1B2A-47A8-8D92-6FE6E622A650}" dt="2024-12-16T11:18:38.189" v="51344"/>
          <ac:cxnSpMkLst>
            <pc:docMk/>
            <pc:sldMk cId="2007446643" sldId="283"/>
            <ac:cxnSpMk id="52" creationId="{6E902599-DA74-A096-5F84-96AC883C73A4}"/>
          </ac:cxnSpMkLst>
        </pc:cxnChg>
        <pc:cxnChg chg="add del mod ord">
          <ac:chgData name="Oğuz Öztekin" userId="33c0df0f-d5fe-4bda-8f43-141ad7af67e3" providerId="ADAL" clId="{48B824AD-1B2A-47A8-8D92-6FE6E622A650}" dt="2024-12-16T11:18:26.159" v="51059"/>
          <ac:cxnSpMkLst>
            <pc:docMk/>
            <pc:sldMk cId="2007446643" sldId="283"/>
            <ac:cxnSpMk id="53" creationId="{CAFF7BB7-A534-ED01-9715-E52F0DEE83C7}"/>
          </ac:cxnSpMkLst>
        </pc:cxnChg>
        <pc:cxnChg chg="add del mod ord">
          <ac:chgData name="Oğuz Öztekin" userId="33c0df0f-d5fe-4bda-8f43-141ad7af67e3" providerId="ADAL" clId="{48B824AD-1B2A-47A8-8D92-6FE6E622A650}" dt="2024-12-16T11:18:26.158" v="51056"/>
          <ac:cxnSpMkLst>
            <pc:docMk/>
            <pc:sldMk cId="2007446643" sldId="283"/>
            <ac:cxnSpMk id="64" creationId="{B93D5D22-65CD-F98D-6D62-6D286868A030}"/>
          </ac:cxnSpMkLst>
        </pc:cxnChg>
        <pc:cxnChg chg="add del mod ord">
          <ac:chgData name="Oğuz Öztekin" userId="33c0df0f-d5fe-4bda-8f43-141ad7af67e3" providerId="ADAL" clId="{48B824AD-1B2A-47A8-8D92-6FE6E622A650}" dt="2024-12-16T11:18:26.157" v="51053"/>
          <ac:cxnSpMkLst>
            <pc:docMk/>
            <pc:sldMk cId="2007446643" sldId="283"/>
            <ac:cxnSpMk id="65" creationId="{B1BE6126-DEEC-4560-3557-A1C623A969CF}"/>
          </ac:cxnSpMkLst>
        </pc:cxnChg>
        <pc:cxnChg chg="add del mod ord">
          <ac:chgData name="Oğuz Öztekin" userId="33c0df0f-d5fe-4bda-8f43-141ad7af67e3" providerId="ADAL" clId="{48B824AD-1B2A-47A8-8D92-6FE6E622A650}" dt="2024-12-16T11:18:38.190" v="51346"/>
          <ac:cxnSpMkLst>
            <pc:docMk/>
            <pc:sldMk cId="2007446643" sldId="283"/>
            <ac:cxnSpMk id="66" creationId="{DC1CADFF-ED0E-7FF7-9DB0-3DB5C17C4438}"/>
          </ac:cxnSpMkLst>
        </pc:cxnChg>
        <pc:cxnChg chg="add del mod ord">
          <ac:chgData name="Oğuz Öztekin" userId="33c0df0f-d5fe-4bda-8f43-141ad7af67e3" providerId="ADAL" clId="{48B824AD-1B2A-47A8-8D92-6FE6E622A650}" dt="2024-12-16T11:18:26.157" v="51050"/>
          <ac:cxnSpMkLst>
            <pc:docMk/>
            <pc:sldMk cId="2007446643" sldId="283"/>
            <ac:cxnSpMk id="67" creationId="{84977D94-9D9E-2043-4841-8FD8357A0EE0}"/>
          </ac:cxnSpMkLst>
        </pc:cxnChg>
        <pc:cxnChg chg="add del mod ord">
          <ac:chgData name="Oğuz Öztekin" userId="33c0df0f-d5fe-4bda-8f43-141ad7af67e3" providerId="ADAL" clId="{48B824AD-1B2A-47A8-8D92-6FE6E622A650}" dt="2024-12-16T11:18:38.190" v="51348"/>
          <ac:cxnSpMkLst>
            <pc:docMk/>
            <pc:sldMk cId="2007446643" sldId="283"/>
            <ac:cxnSpMk id="71" creationId="{54D6C727-AD7D-8D00-DDF2-0A04D80C4935}"/>
          </ac:cxnSpMkLst>
        </pc:cxnChg>
        <pc:cxnChg chg="mod ord">
          <ac:chgData name="Oğuz Öztekin" userId="33c0df0f-d5fe-4bda-8f43-141ad7af67e3" providerId="ADAL" clId="{48B824AD-1B2A-47A8-8D92-6FE6E622A650}" dt="2024-12-16T11:19:21.102" v="52432"/>
          <ac:cxnSpMkLst>
            <pc:docMk/>
            <pc:sldMk cId="2007446643" sldId="283"/>
            <ac:cxnSpMk id="73" creationId="{5C37EC03-2791-9D51-BF2D-AE023B3DC68B}"/>
          </ac:cxnSpMkLst>
        </pc:cxnChg>
        <pc:cxnChg chg="mod ord">
          <ac:chgData name="Oğuz Öztekin" userId="33c0df0f-d5fe-4bda-8f43-141ad7af67e3" providerId="ADAL" clId="{48B824AD-1B2A-47A8-8D92-6FE6E622A650}" dt="2024-12-16T11:19:21.102" v="52434"/>
          <ac:cxnSpMkLst>
            <pc:docMk/>
            <pc:sldMk cId="2007446643" sldId="283"/>
            <ac:cxnSpMk id="74" creationId="{493A1725-89D2-C50C-61AF-C068F1B4A706}"/>
          </ac:cxnSpMkLst>
        </pc:cxnChg>
        <pc:cxnChg chg="mod ord">
          <ac:chgData name="Oğuz Öztekin" userId="33c0df0f-d5fe-4bda-8f43-141ad7af67e3" providerId="ADAL" clId="{48B824AD-1B2A-47A8-8D92-6FE6E622A650}" dt="2024-12-16T11:19:21.102" v="52436"/>
          <ac:cxnSpMkLst>
            <pc:docMk/>
            <pc:sldMk cId="2007446643" sldId="283"/>
            <ac:cxnSpMk id="75" creationId="{CB05B057-4874-BB30-C991-47F6CA85AF90}"/>
          </ac:cxnSpMkLst>
        </pc:cxnChg>
        <pc:cxnChg chg="del mod ord">
          <ac:chgData name="Oğuz Öztekin" userId="33c0df0f-d5fe-4bda-8f43-141ad7af67e3" providerId="ADAL" clId="{48B824AD-1B2A-47A8-8D92-6FE6E622A650}" dt="2024-12-16T11:18:10.519" v="49676"/>
          <ac:cxnSpMkLst>
            <pc:docMk/>
            <pc:sldMk cId="2007446643" sldId="283"/>
            <ac:cxnSpMk id="226" creationId="{96A5C315-C69A-4968-5B4C-E256D6DCDE40}"/>
          </ac:cxnSpMkLst>
        </pc:cxnChg>
        <pc:cxnChg chg="del mod ord">
          <ac:chgData name="Oğuz Öztekin" userId="33c0df0f-d5fe-4bda-8f43-141ad7af67e3" providerId="ADAL" clId="{48B824AD-1B2A-47A8-8D92-6FE6E622A650}" dt="2024-12-16T11:18:10.519" v="49674"/>
          <ac:cxnSpMkLst>
            <pc:docMk/>
            <pc:sldMk cId="2007446643" sldId="283"/>
            <ac:cxnSpMk id="227" creationId="{5975C226-582C-3B9B-7814-EE99E37C9468}"/>
          </ac:cxnSpMkLst>
        </pc:cxnChg>
        <pc:cxnChg chg="del mod ord">
          <ac:chgData name="Oğuz Öztekin" userId="33c0df0f-d5fe-4bda-8f43-141ad7af67e3" providerId="ADAL" clId="{48B824AD-1B2A-47A8-8D92-6FE6E622A650}" dt="2024-12-16T11:18:10.518" v="49672"/>
          <ac:cxnSpMkLst>
            <pc:docMk/>
            <pc:sldMk cId="2007446643" sldId="283"/>
            <ac:cxnSpMk id="228" creationId="{AC3C0D82-9B7B-546F-D928-0E8F518B027A}"/>
          </ac:cxnSpMkLst>
        </pc:cxnChg>
        <pc:cxnChg chg="del mod ord">
          <ac:chgData name="Oğuz Öztekin" userId="33c0df0f-d5fe-4bda-8f43-141ad7af67e3" providerId="ADAL" clId="{48B824AD-1B2A-47A8-8D92-6FE6E622A650}" dt="2024-12-16T11:18:10.518" v="49670"/>
          <ac:cxnSpMkLst>
            <pc:docMk/>
            <pc:sldMk cId="2007446643" sldId="283"/>
            <ac:cxnSpMk id="229" creationId="{58C25EA1-9AAD-4DBB-6BD6-C4FFBB876F09}"/>
          </ac:cxnSpMkLst>
        </pc:cxnChg>
        <pc:cxnChg chg="del mod ord">
          <ac:chgData name="Oğuz Öztekin" userId="33c0df0f-d5fe-4bda-8f43-141ad7af67e3" providerId="ADAL" clId="{48B824AD-1B2A-47A8-8D92-6FE6E622A650}" dt="2024-12-16T11:18:10.517" v="49668"/>
          <ac:cxnSpMkLst>
            <pc:docMk/>
            <pc:sldMk cId="2007446643" sldId="283"/>
            <ac:cxnSpMk id="230" creationId="{9F0050AF-5AE7-8A31-4D5F-473F08B10CBD}"/>
          </ac:cxnSpMkLst>
        </pc:cxnChg>
        <pc:cxnChg chg="del mod ord">
          <ac:chgData name="Oğuz Öztekin" userId="33c0df0f-d5fe-4bda-8f43-141ad7af67e3" providerId="ADAL" clId="{48B824AD-1B2A-47A8-8D92-6FE6E622A650}" dt="2024-12-16T11:18:10.517" v="49666"/>
          <ac:cxnSpMkLst>
            <pc:docMk/>
            <pc:sldMk cId="2007446643" sldId="283"/>
            <ac:cxnSpMk id="231" creationId="{9AD83182-D483-BFC8-149A-44A54C2FA44E}"/>
          </ac:cxnSpMkLst>
        </pc:cxnChg>
        <pc:cxnChg chg="mod ord">
          <ac:chgData name="Oğuz Öztekin" userId="33c0df0f-d5fe-4bda-8f43-141ad7af67e3" providerId="ADAL" clId="{48B824AD-1B2A-47A8-8D92-6FE6E622A650}" dt="2024-12-16T11:19:21.103" v="52439"/>
          <ac:cxnSpMkLst>
            <pc:docMk/>
            <pc:sldMk cId="2007446643" sldId="283"/>
            <ac:cxnSpMk id="286" creationId="{CAB51130-A452-83CD-6FF4-1237A41290F2}"/>
          </ac:cxnSpMkLst>
        </pc:cxnChg>
        <pc:cxnChg chg="add del mod ord">
          <ac:chgData name="Oğuz Öztekin" userId="33c0df0f-d5fe-4bda-8f43-141ad7af67e3" providerId="ADAL" clId="{48B824AD-1B2A-47A8-8D92-6FE6E622A650}" dt="2024-12-16T11:18:26.166" v="51086"/>
          <ac:cxnSpMkLst>
            <pc:docMk/>
            <pc:sldMk cId="2007446643" sldId="283"/>
            <ac:cxnSpMk id="306" creationId="{AC95F02E-5906-2C5A-B4DC-5D687A954D2A}"/>
          </ac:cxnSpMkLst>
        </pc:cxnChg>
        <pc:cxnChg chg="add del mod ord">
          <ac:chgData name="Oğuz Öztekin" userId="33c0df0f-d5fe-4bda-8f43-141ad7af67e3" providerId="ADAL" clId="{48B824AD-1B2A-47A8-8D92-6FE6E622A650}" dt="2024-12-16T11:18:26.165" v="51080"/>
          <ac:cxnSpMkLst>
            <pc:docMk/>
            <pc:sldMk cId="2007446643" sldId="283"/>
            <ac:cxnSpMk id="307" creationId="{5B9E098D-58B1-970E-61D0-0DE91B7B962C}"/>
          </ac:cxnSpMkLst>
        </pc:cxnChg>
        <pc:cxnChg chg="add del mod ord">
          <ac:chgData name="Oğuz Öztekin" userId="33c0df0f-d5fe-4bda-8f43-141ad7af67e3" providerId="ADAL" clId="{48B824AD-1B2A-47A8-8D92-6FE6E622A650}" dt="2024-12-16T11:18:38.189" v="51342"/>
          <ac:cxnSpMkLst>
            <pc:docMk/>
            <pc:sldMk cId="2007446643" sldId="283"/>
            <ac:cxnSpMk id="308" creationId="{29C19DF3-F086-FA22-8821-413E891E773C}"/>
          </ac:cxnSpMkLst>
        </pc:cxnChg>
        <pc:cxnChg chg="add del mod ord">
          <ac:chgData name="Oğuz Öztekin" userId="33c0df0f-d5fe-4bda-8f43-141ad7af67e3" providerId="ADAL" clId="{48B824AD-1B2A-47A8-8D92-6FE6E622A650}" dt="2024-12-16T11:18:26.163" v="51071"/>
          <ac:cxnSpMkLst>
            <pc:docMk/>
            <pc:sldMk cId="2007446643" sldId="283"/>
            <ac:cxnSpMk id="309" creationId="{0F182A21-C366-0737-B179-D3EA8B158CCB}"/>
          </ac:cxnSpMkLst>
        </pc:cxnChg>
        <pc:cxnChg chg="add del mod ord">
          <ac:chgData name="Oğuz Öztekin" userId="33c0df0f-d5fe-4bda-8f43-141ad7af67e3" providerId="ADAL" clId="{48B824AD-1B2A-47A8-8D92-6FE6E622A650}" dt="2024-12-16T11:18:26.161" v="51065"/>
          <ac:cxnSpMkLst>
            <pc:docMk/>
            <pc:sldMk cId="2007446643" sldId="283"/>
            <ac:cxnSpMk id="310" creationId="{7DF6A6D7-6C37-E023-026B-C377689756C8}"/>
          </ac:cxnSpMkLst>
        </pc:cxnChg>
        <pc:cxnChg chg="add del mod ord">
          <ac:chgData name="Oğuz Öztekin" userId="33c0df0f-d5fe-4bda-8f43-141ad7af67e3" providerId="ADAL" clId="{48B824AD-1B2A-47A8-8D92-6FE6E622A650}" dt="2024-12-16T11:18:26.160" v="51062"/>
          <ac:cxnSpMkLst>
            <pc:docMk/>
            <pc:sldMk cId="2007446643" sldId="283"/>
            <ac:cxnSpMk id="311" creationId="{9B132A5B-590F-11D0-EEE3-8AC8C9FC3B74}"/>
          </ac:cxnSpMkLst>
        </pc:cxnChg>
      </pc:sldChg>
      <pc:sldChg chg="addSp delSp modSp add mod">
        <pc:chgData name="Oğuz Öztekin" userId="33c0df0f-d5fe-4bda-8f43-141ad7af67e3" providerId="ADAL" clId="{48B824AD-1B2A-47A8-8D92-6FE6E622A650}" dt="2024-12-16T11:22:34.938" v="53140"/>
        <pc:sldMkLst>
          <pc:docMk/>
          <pc:sldMk cId="643973876" sldId="284"/>
        </pc:sldMkLst>
        <pc:spChg chg="mod ord">
          <ac:chgData name="Oğuz Öztekin" userId="33c0df0f-d5fe-4bda-8f43-141ad7af67e3" providerId="ADAL" clId="{48B824AD-1B2A-47A8-8D92-6FE6E622A650}" dt="2024-12-16T11:22:34.931" v="53122"/>
          <ac:spMkLst>
            <pc:docMk/>
            <pc:sldMk cId="643973876" sldId="284"/>
            <ac:spMk id="2" creationId="{3F5BAC77-4AE8-6536-1152-C5E4BECFE995}"/>
          </ac:spMkLst>
        </pc:spChg>
        <pc:spChg chg="add del mod modVis">
          <ac:chgData name="Oğuz Öztekin" userId="33c0df0f-d5fe-4bda-8f43-141ad7af67e3" providerId="ADAL" clId="{48B824AD-1B2A-47A8-8D92-6FE6E622A650}" dt="2024-12-16T11:19:47.810" v="52473"/>
          <ac:spMkLst>
            <pc:docMk/>
            <pc:sldMk cId="643973876" sldId="284"/>
            <ac:spMk id="4" creationId="{A48E7CCD-6B69-15FF-9D34-A717C896D467}"/>
          </ac:spMkLst>
        </pc:spChg>
        <pc:spChg chg="add del mod modVis">
          <ac:chgData name="Oğuz Öztekin" userId="33c0df0f-d5fe-4bda-8f43-141ad7af67e3" providerId="ADAL" clId="{48B824AD-1B2A-47A8-8D92-6FE6E622A650}" dt="2024-12-16T11:19:49.343" v="52503"/>
          <ac:spMkLst>
            <pc:docMk/>
            <pc:sldMk cId="643973876" sldId="284"/>
            <ac:spMk id="5" creationId="{3574BB00-FF41-E8BF-25AE-4538A74E7568}"/>
          </ac:spMkLst>
        </pc:spChg>
        <pc:spChg chg="add del mod modVis">
          <ac:chgData name="Oğuz Öztekin" userId="33c0df0f-d5fe-4bda-8f43-141ad7af67e3" providerId="ADAL" clId="{48B824AD-1B2A-47A8-8D92-6FE6E622A650}" dt="2024-12-16T11:19:52.102" v="52542"/>
          <ac:spMkLst>
            <pc:docMk/>
            <pc:sldMk cId="643973876" sldId="284"/>
            <ac:spMk id="6" creationId="{14EF58A1-FE81-BD4D-0558-79A363669828}"/>
          </ac:spMkLst>
        </pc:spChg>
        <pc:spChg chg="add del mod modVis">
          <ac:chgData name="Oğuz Öztekin" userId="33c0df0f-d5fe-4bda-8f43-141ad7af67e3" providerId="ADAL" clId="{48B824AD-1B2A-47A8-8D92-6FE6E622A650}" dt="2024-12-16T11:21:16.632" v="52581"/>
          <ac:spMkLst>
            <pc:docMk/>
            <pc:sldMk cId="643973876" sldId="284"/>
            <ac:spMk id="7" creationId="{81223EA4-5B27-72AB-9F0E-1B8EFB7D3F72}"/>
          </ac:spMkLst>
        </pc:spChg>
        <pc:spChg chg="add del mod modVis">
          <ac:chgData name="Oğuz Öztekin" userId="33c0df0f-d5fe-4bda-8f43-141ad7af67e3" providerId="ADAL" clId="{48B824AD-1B2A-47A8-8D92-6FE6E622A650}" dt="2024-12-16T11:22:34.012" v="53054"/>
          <ac:spMkLst>
            <pc:docMk/>
            <pc:sldMk cId="643973876" sldId="284"/>
            <ac:spMk id="8" creationId="{B6D78709-20B7-606D-030E-0C55ECBBB40F}"/>
          </ac:spMkLst>
        </pc:spChg>
        <pc:spChg chg="add del mod">
          <ac:chgData name="Oğuz Öztekin" userId="33c0df0f-d5fe-4bda-8f43-141ad7af67e3" providerId="ADAL" clId="{48B824AD-1B2A-47A8-8D92-6FE6E622A650}" dt="2024-12-16T11:22:34.903" v="53106"/>
          <ac:spMkLst>
            <pc:docMk/>
            <pc:sldMk cId="643973876" sldId="284"/>
            <ac:spMk id="9" creationId="{175B0CB1-9BBE-3C79-9793-3B3087D414DE}"/>
          </ac:spMkLst>
        </pc:spChg>
        <pc:spChg chg="add del mod">
          <ac:chgData name="Oğuz Öztekin" userId="33c0df0f-d5fe-4bda-8f43-141ad7af67e3" providerId="ADAL" clId="{48B824AD-1B2A-47A8-8D92-6FE6E622A650}" dt="2024-12-16T11:22:34.907" v="53107"/>
          <ac:spMkLst>
            <pc:docMk/>
            <pc:sldMk cId="643973876" sldId="284"/>
            <ac:spMk id="10" creationId="{79B5CB81-A6AC-FAC3-AD7B-5434EA09B911}"/>
          </ac:spMkLst>
        </pc:spChg>
        <pc:spChg chg="add del mod">
          <ac:chgData name="Oğuz Öztekin" userId="33c0df0f-d5fe-4bda-8f43-141ad7af67e3" providerId="ADAL" clId="{48B824AD-1B2A-47A8-8D92-6FE6E622A650}" dt="2024-12-16T11:22:34.907" v="53108"/>
          <ac:spMkLst>
            <pc:docMk/>
            <pc:sldMk cId="643973876" sldId="284"/>
            <ac:spMk id="11" creationId="{88D56424-EB0F-C4FF-AED3-9AD40A23347E}"/>
          </ac:spMkLst>
        </pc:spChg>
        <pc:spChg chg="add del mod">
          <ac:chgData name="Oğuz Öztekin" userId="33c0df0f-d5fe-4bda-8f43-141ad7af67e3" providerId="ADAL" clId="{48B824AD-1B2A-47A8-8D92-6FE6E622A650}" dt="2024-12-16T11:22:34.908" v="53109"/>
          <ac:spMkLst>
            <pc:docMk/>
            <pc:sldMk cId="643973876" sldId="284"/>
            <ac:spMk id="12" creationId="{497A44BC-851B-3EF5-182E-D3B022BD4CF2}"/>
          </ac:spMkLst>
        </pc:spChg>
        <pc:spChg chg="add del mod">
          <ac:chgData name="Oğuz Öztekin" userId="33c0df0f-d5fe-4bda-8f43-141ad7af67e3" providerId="ADAL" clId="{48B824AD-1B2A-47A8-8D92-6FE6E622A650}" dt="2024-12-16T11:22:34.908" v="53110"/>
          <ac:spMkLst>
            <pc:docMk/>
            <pc:sldMk cId="643973876" sldId="284"/>
            <ac:spMk id="13" creationId="{6D13828E-09D7-900D-D247-F429098B0D13}"/>
          </ac:spMkLst>
        </pc:spChg>
        <pc:spChg chg="add del mod">
          <ac:chgData name="Oğuz Öztekin" userId="33c0df0f-d5fe-4bda-8f43-141ad7af67e3" providerId="ADAL" clId="{48B824AD-1B2A-47A8-8D92-6FE6E622A650}" dt="2024-12-16T11:22:34.909" v="53111"/>
          <ac:spMkLst>
            <pc:docMk/>
            <pc:sldMk cId="643973876" sldId="284"/>
            <ac:spMk id="14" creationId="{651CC715-9D69-B818-75B9-844CFF9FB836}"/>
          </ac:spMkLst>
        </pc:spChg>
        <pc:spChg chg="add del mod">
          <ac:chgData name="Oğuz Öztekin" userId="33c0df0f-d5fe-4bda-8f43-141ad7af67e3" providerId="ADAL" clId="{48B824AD-1B2A-47A8-8D92-6FE6E622A650}" dt="2024-12-16T11:22:34.910" v="53112"/>
          <ac:spMkLst>
            <pc:docMk/>
            <pc:sldMk cId="643973876" sldId="284"/>
            <ac:spMk id="15" creationId="{D1ADC389-4C1E-7F5A-7800-8210F766D553}"/>
          </ac:spMkLst>
        </pc:spChg>
        <pc:spChg chg="add del mod modVis">
          <ac:chgData name="Oğuz Öztekin" userId="33c0df0f-d5fe-4bda-8f43-141ad7af67e3" providerId="ADAL" clId="{48B824AD-1B2A-47A8-8D92-6FE6E622A650}" dt="2024-12-16T11:22:34.937" v="53138"/>
          <ac:spMkLst>
            <pc:docMk/>
            <pc:sldMk cId="643973876" sldId="284"/>
            <ac:spMk id="17" creationId="{8BF8183B-2B3D-1687-BC7D-3FE9DB1DE6FE}"/>
          </ac:spMkLst>
        </pc:spChg>
        <pc:spChg chg="mod ord">
          <ac:chgData name="Oğuz Öztekin" userId="33c0df0f-d5fe-4bda-8f43-141ad7af67e3" providerId="ADAL" clId="{48B824AD-1B2A-47A8-8D92-6FE6E622A650}" dt="2024-12-16T11:22:34.937" v="53136"/>
          <ac:spMkLst>
            <pc:docMk/>
            <pc:sldMk cId="643973876" sldId="284"/>
            <ac:spMk id="72" creationId="{4DB1DCBF-B2A5-6BB0-E160-A9BB16BF9B24}"/>
          </ac:spMkLst>
        </pc:spChg>
        <pc:spChg chg="mod">
          <ac:chgData name="Oğuz Öztekin" userId="33c0df0f-d5fe-4bda-8f43-141ad7af67e3" providerId="ADAL" clId="{48B824AD-1B2A-47A8-8D92-6FE6E622A650}" dt="2024-12-16T11:22:34.936" v="53134"/>
          <ac:spMkLst>
            <pc:docMk/>
            <pc:sldMk cId="643973876" sldId="284"/>
            <ac:spMk id="284" creationId="{0825CC96-D08C-AAA9-945D-632143B7C0AA}"/>
          </ac:spMkLst>
        </pc:spChg>
        <pc:spChg chg="mod">
          <ac:chgData name="Oğuz Öztekin" userId="33c0df0f-d5fe-4bda-8f43-141ad7af67e3" providerId="ADAL" clId="{48B824AD-1B2A-47A8-8D92-6FE6E622A650}" dt="2024-12-16T11:22:34.934" v="53131"/>
          <ac:spMkLst>
            <pc:docMk/>
            <pc:sldMk cId="643973876" sldId="284"/>
            <ac:spMk id="285" creationId="{8C0BB641-79AD-4BF5-6B43-BE1EACAB9EEC}"/>
          </ac:spMkLst>
        </pc:spChg>
        <pc:graphicFrameChg chg="mod">
          <ac:chgData name="Oğuz Öztekin" userId="33c0df0f-d5fe-4bda-8f43-141ad7af67e3" providerId="ADAL" clId="{48B824AD-1B2A-47A8-8D92-6FE6E622A650}" dt="2024-12-16T11:22:34.938" v="53140"/>
          <ac:graphicFrameMkLst>
            <pc:docMk/>
            <pc:sldMk cId="643973876" sldId="284"/>
            <ac:graphicFrameMk id="3" creationId="{AB908067-76D3-DB92-2C9F-4A82BAF44DBD}"/>
          </ac:graphicFrameMkLst>
        </pc:graphicFrameChg>
        <pc:graphicFrameChg chg="add del mod ord">
          <ac:chgData name="Oğuz Öztekin" userId="33c0df0f-d5fe-4bda-8f43-141ad7af67e3" providerId="ADAL" clId="{48B824AD-1B2A-47A8-8D92-6FE6E622A650}" dt="2024-12-16T11:22:34.913" v="53115"/>
          <ac:graphicFrameMkLst>
            <pc:docMk/>
            <pc:sldMk cId="643973876" sldId="284"/>
            <ac:graphicFrameMk id="16" creationId="{98B97B3D-C1C6-7EB9-6C19-B0BDC803433C}"/>
          </ac:graphicFrameMkLst>
        </pc:graphicFrameChg>
        <pc:graphicFrameChg chg="add mod ord">
          <ac:chgData name="Oğuz Öztekin" userId="33c0df0f-d5fe-4bda-8f43-141ad7af67e3" providerId="ADAL" clId="{48B824AD-1B2A-47A8-8D92-6FE6E622A650}" dt="2024-12-16T11:22:34.931" v="53124"/>
          <ac:graphicFrameMkLst>
            <pc:docMk/>
            <pc:sldMk cId="643973876" sldId="284"/>
            <ac:graphicFrameMk id="18" creationId="{D71A5DBC-89FC-9A3B-4441-32C041515025}"/>
          </ac:graphicFrameMkLst>
        </pc:graphicFrameChg>
        <pc:graphicFrameChg chg="del">
          <ac:chgData name="Oğuz Öztekin" userId="33c0df0f-d5fe-4bda-8f43-141ad7af67e3" providerId="ADAL" clId="{48B824AD-1B2A-47A8-8D92-6FE6E622A650}" dt="2024-12-16T11:22:33.982" v="53013"/>
          <ac:graphicFrameMkLst>
            <pc:docMk/>
            <pc:sldMk cId="643973876" sldId="284"/>
            <ac:graphicFrameMk id="169" creationId="{3184B371-0171-6E97-90AD-3404F91515F2}"/>
          </ac:graphicFrameMkLst>
        </pc:graphicFrameChg>
        <pc:cxnChg chg="mod ord">
          <ac:chgData name="Oğuz Öztekin" userId="33c0df0f-d5fe-4bda-8f43-141ad7af67e3" providerId="ADAL" clId="{48B824AD-1B2A-47A8-8D92-6FE6E622A650}" dt="2024-12-16T11:22:34.932" v="53126"/>
          <ac:cxnSpMkLst>
            <pc:docMk/>
            <pc:sldMk cId="643973876" sldId="284"/>
            <ac:cxnSpMk id="73" creationId="{E29EBC6F-AB8C-972B-A9C7-FB4A2CB750B1}"/>
          </ac:cxnSpMkLst>
        </pc:cxnChg>
        <pc:cxnChg chg="mod ord">
          <ac:chgData name="Oğuz Öztekin" userId="33c0df0f-d5fe-4bda-8f43-141ad7af67e3" providerId="ADAL" clId="{48B824AD-1B2A-47A8-8D92-6FE6E622A650}" dt="2024-12-16T11:22:34.933" v="53128"/>
          <ac:cxnSpMkLst>
            <pc:docMk/>
            <pc:sldMk cId="643973876" sldId="284"/>
            <ac:cxnSpMk id="74" creationId="{EE41F7A6-03B8-F9D7-B8BC-248F54FA3690}"/>
          </ac:cxnSpMkLst>
        </pc:cxnChg>
        <pc:cxnChg chg="mod ord">
          <ac:chgData name="Oğuz Öztekin" userId="33c0df0f-d5fe-4bda-8f43-141ad7af67e3" providerId="ADAL" clId="{48B824AD-1B2A-47A8-8D92-6FE6E622A650}" dt="2024-12-16T11:22:34.933" v="53130"/>
          <ac:cxnSpMkLst>
            <pc:docMk/>
            <pc:sldMk cId="643973876" sldId="284"/>
            <ac:cxnSpMk id="75" creationId="{6FCEAE6E-3675-18CB-889F-52D16A37EBB2}"/>
          </ac:cxnSpMkLst>
        </pc:cxnChg>
        <pc:cxnChg chg="mod ord">
          <ac:chgData name="Oğuz Öztekin" userId="33c0df0f-d5fe-4bda-8f43-141ad7af67e3" providerId="ADAL" clId="{48B824AD-1B2A-47A8-8D92-6FE6E622A650}" dt="2024-12-16T11:22:34.935" v="53133"/>
          <ac:cxnSpMkLst>
            <pc:docMk/>
            <pc:sldMk cId="643973876" sldId="284"/>
            <ac:cxnSpMk id="286" creationId="{05FDE294-E797-0E10-9777-07BA8CB463D7}"/>
          </ac:cxnSpMkLst>
        </pc:cxnChg>
      </pc:sldChg>
      <pc:sldChg chg="del">
        <pc:chgData name="Oğuz Öztekin" userId="33c0df0f-d5fe-4bda-8f43-141ad7af67e3" providerId="ADAL" clId="{48B824AD-1B2A-47A8-8D92-6FE6E622A650}" dt="2024-12-16T09:07:23.507" v="14" actId="2696"/>
        <pc:sldMkLst>
          <pc:docMk/>
          <pc:sldMk cId="1730444853" sldId="285"/>
        </pc:sldMkLst>
      </pc:sldChg>
      <pc:sldChg chg="del">
        <pc:chgData name="Oğuz Öztekin" userId="33c0df0f-d5fe-4bda-8f43-141ad7af67e3" providerId="ADAL" clId="{48B824AD-1B2A-47A8-8D92-6FE6E622A650}" dt="2024-12-16T09:07:33.481" v="21" actId="2696"/>
        <pc:sldMkLst>
          <pc:docMk/>
          <pc:sldMk cId="2972345480" sldId="286"/>
        </pc:sldMkLst>
      </pc:sldChg>
      <pc:sldChg chg="del">
        <pc:chgData name="Oğuz Öztekin" userId="33c0df0f-d5fe-4bda-8f43-141ad7af67e3" providerId="ADAL" clId="{48B824AD-1B2A-47A8-8D92-6FE6E622A650}" dt="2024-12-16T09:07:32.693" v="18" actId="2696"/>
        <pc:sldMkLst>
          <pc:docMk/>
          <pc:sldMk cId="1173608751" sldId="287"/>
        </pc:sldMkLst>
      </pc:sldChg>
      <pc:sldChg chg="del">
        <pc:chgData name="Oğuz Öztekin" userId="33c0df0f-d5fe-4bda-8f43-141ad7af67e3" providerId="ADAL" clId="{48B824AD-1B2A-47A8-8D92-6FE6E622A650}" dt="2024-12-16T09:07:32.966" v="19" actId="2696"/>
        <pc:sldMkLst>
          <pc:docMk/>
          <pc:sldMk cId="807331676" sldId="288"/>
        </pc:sldMkLst>
      </pc:sldChg>
      <pc:sldChg chg="del">
        <pc:chgData name="Oğuz Öztekin" userId="33c0df0f-d5fe-4bda-8f43-141ad7af67e3" providerId="ADAL" clId="{48B824AD-1B2A-47A8-8D92-6FE6E622A650}" dt="2024-12-16T09:07:33.205" v="20" actId="2696"/>
        <pc:sldMkLst>
          <pc:docMk/>
          <pc:sldMk cId="1381465311" sldId="289"/>
        </pc:sldMkLst>
      </pc:sldChg>
      <pc:sldChg chg="del">
        <pc:chgData name="Oğuz Öztekin" userId="33c0df0f-d5fe-4bda-8f43-141ad7af67e3" providerId="ADAL" clId="{48B824AD-1B2A-47A8-8D92-6FE6E622A650}" dt="2024-12-16T09:07:15.308" v="1" actId="2696"/>
        <pc:sldMkLst>
          <pc:docMk/>
          <pc:sldMk cId="3193571855" sldId="290"/>
        </pc:sldMkLst>
      </pc:sldChg>
      <pc:sldChg chg="del">
        <pc:chgData name="Oğuz Öztekin" userId="33c0df0f-d5fe-4bda-8f43-141ad7af67e3" providerId="ADAL" clId="{48B824AD-1B2A-47A8-8D92-6FE6E622A650}" dt="2024-12-16T09:07:20.861" v="5" actId="2696"/>
        <pc:sldMkLst>
          <pc:docMk/>
          <pc:sldMk cId="1219213586" sldId="291"/>
        </pc:sldMkLst>
      </pc:sldChg>
      <pc:sldChg chg="del">
        <pc:chgData name="Oğuz Öztekin" userId="33c0df0f-d5fe-4bda-8f43-141ad7af67e3" providerId="ADAL" clId="{48B824AD-1B2A-47A8-8D92-6FE6E622A650}" dt="2024-12-16T09:07:31.365" v="15" actId="2696"/>
        <pc:sldMkLst>
          <pc:docMk/>
          <pc:sldMk cId="1169620162" sldId="300"/>
        </pc:sldMkLst>
      </pc:sldChg>
      <pc:sldChg chg="del">
        <pc:chgData name="Oğuz Öztekin" userId="33c0df0f-d5fe-4bda-8f43-141ad7af67e3" providerId="ADAL" clId="{48B824AD-1B2A-47A8-8D92-6FE6E622A650}" dt="2024-12-16T09:07:21.351" v="6" actId="2696"/>
        <pc:sldMkLst>
          <pc:docMk/>
          <pc:sldMk cId="322219125" sldId="301"/>
        </pc:sldMkLst>
      </pc:sldChg>
      <pc:sldChg chg="del">
        <pc:chgData name="Oğuz Öztekin" userId="33c0df0f-d5fe-4bda-8f43-141ad7af67e3" providerId="ADAL" clId="{48B824AD-1B2A-47A8-8D92-6FE6E622A650}" dt="2024-12-16T09:07:21.653" v="7" actId="2696"/>
        <pc:sldMkLst>
          <pc:docMk/>
          <pc:sldMk cId="3347764341" sldId="302"/>
        </pc:sldMkLst>
      </pc:sldChg>
      <pc:sldChg chg="del">
        <pc:chgData name="Oğuz Öztekin" userId="33c0df0f-d5fe-4bda-8f43-141ad7af67e3" providerId="ADAL" clId="{48B824AD-1B2A-47A8-8D92-6FE6E622A650}" dt="2024-12-16T09:07:22.184" v="9" actId="2696"/>
        <pc:sldMkLst>
          <pc:docMk/>
          <pc:sldMk cId="3423456175" sldId="303"/>
        </pc:sldMkLst>
      </pc:sldChg>
      <pc:sldChg chg="del">
        <pc:chgData name="Oğuz Öztekin" userId="33c0df0f-d5fe-4bda-8f43-141ad7af67e3" providerId="ADAL" clId="{48B824AD-1B2A-47A8-8D92-6FE6E622A650}" dt="2024-12-16T09:07:22.444" v="10" actId="2696"/>
        <pc:sldMkLst>
          <pc:docMk/>
          <pc:sldMk cId="4005765948" sldId="304"/>
        </pc:sldMkLst>
      </pc:sldChg>
      <pc:sldChg chg="del">
        <pc:chgData name="Oğuz Öztekin" userId="33c0df0f-d5fe-4bda-8f43-141ad7af67e3" providerId="ADAL" clId="{48B824AD-1B2A-47A8-8D92-6FE6E622A650}" dt="2024-12-16T09:07:22.707" v="11" actId="2696"/>
        <pc:sldMkLst>
          <pc:docMk/>
          <pc:sldMk cId="317251413" sldId="305"/>
        </pc:sldMkLst>
      </pc:sldChg>
      <pc:sldChg chg="del">
        <pc:chgData name="Oğuz Öztekin" userId="33c0df0f-d5fe-4bda-8f43-141ad7af67e3" providerId="ADAL" clId="{48B824AD-1B2A-47A8-8D92-6FE6E622A650}" dt="2024-12-16T09:07:31.739" v="16" actId="2696"/>
        <pc:sldMkLst>
          <pc:docMk/>
          <pc:sldMk cId="1748462351" sldId="307"/>
        </pc:sldMkLst>
      </pc:sldChg>
      <pc:sldChg chg="del">
        <pc:chgData name="Oğuz Öztekin" userId="33c0df0f-d5fe-4bda-8f43-141ad7af67e3" providerId="ADAL" clId="{48B824AD-1B2A-47A8-8D92-6FE6E622A650}" dt="2024-12-16T09:07:21.918" v="8" actId="2696"/>
        <pc:sldMkLst>
          <pc:docMk/>
          <pc:sldMk cId="1747725061" sldId="308"/>
        </pc:sldMkLst>
      </pc:sldChg>
      <pc:sldChg chg="del">
        <pc:chgData name="Oğuz Öztekin" userId="33c0df0f-d5fe-4bda-8f43-141ad7af67e3" providerId="ADAL" clId="{48B824AD-1B2A-47A8-8D92-6FE6E622A650}" dt="2024-12-16T09:07:22.942" v="12" actId="2696"/>
        <pc:sldMkLst>
          <pc:docMk/>
          <pc:sldMk cId="1902639763" sldId="309"/>
        </pc:sldMkLst>
      </pc:sldChg>
      <pc:sldChg chg="del">
        <pc:chgData name="Oğuz Öztekin" userId="33c0df0f-d5fe-4bda-8f43-141ad7af67e3" providerId="ADAL" clId="{48B824AD-1B2A-47A8-8D92-6FE6E622A650}" dt="2024-12-16T09:07:23.260" v="13" actId="2696"/>
        <pc:sldMkLst>
          <pc:docMk/>
          <pc:sldMk cId="3251755664" sldId="310"/>
        </pc:sldMkLst>
      </pc:sldChg>
      <pc:sldMasterChg chg="delSldLayout">
        <pc:chgData name="Oğuz Öztekin" userId="33c0df0f-d5fe-4bda-8f43-141ad7af67e3" providerId="ADAL" clId="{48B824AD-1B2A-47A8-8D92-6FE6E622A650}" dt="2024-12-16T11:06:10.011" v="44526" actId="47"/>
        <pc:sldMasterMkLst>
          <pc:docMk/>
          <pc:sldMasterMk cId="0" sldId="2147483648"/>
        </pc:sldMasterMkLst>
        <pc:sldLayoutChg chg="del">
          <pc:chgData name="Oğuz Öztekin" userId="33c0df0f-d5fe-4bda-8f43-141ad7af67e3" providerId="ADAL" clId="{48B824AD-1B2A-47A8-8D92-6FE6E622A650}" dt="2024-12-16T11:06:10.011" v="44526" actId="47"/>
          <pc:sldLayoutMkLst>
            <pc:docMk/>
            <pc:sldMasterMk cId="0" sldId="2147483648"/>
            <pc:sldLayoutMk cId="0" sldId="2147483651"/>
          </pc:sldLayoutMkLst>
        </pc:sldLayoutChg>
      </pc:sldMasterChg>
    </pc:docChg>
  </pc:docChgLst>
  <pc:docChgLst>
    <pc:chgData name="Batuhan Yelseli" userId="S::batuhan.yelseli@fintegral.com.tr::e1126a1f-d490-470b-80e9-57d2ed9dcaf7" providerId="AD" clId="Web-{81B4419E-5722-F022-551A-162271794161}"/>
    <pc:docChg chg="modSld">
      <pc:chgData name="Batuhan Yelseli" userId="S::batuhan.yelseli@fintegral.com.tr::e1126a1f-d490-470b-80e9-57d2ed9dcaf7" providerId="AD" clId="Web-{81B4419E-5722-F022-551A-162271794161}" dt="2024-12-06T10:43:38.258" v="52"/>
      <pc:docMkLst>
        <pc:docMk/>
      </pc:docMkLst>
      <pc:sldChg chg="modSp">
        <pc:chgData name="Batuhan Yelseli" userId="S::batuhan.yelseli@fintegral.com.tr::e1126a1f-d490-470b-80e9-57d2ed9dcaf7" providerId="AD" clId="Web-{81B4419E-5722-F022-551A-162271794161}" dt="2024-12-06T10:43:38.258" v="52"/>
        <pc:sldMkLst>
          <pc:docMk/>
          <pc:sldMk cId="3826332343" sldId="272"/>
        </pc:sldMkLst>
        <pc:graphicFrameChg chg="mod modGraphic">
          <ac:chgData name="Batuhan Yelseli" userId="S::batuhan.yelseli@fintegral.com.tr::e1126a1f-d490-470b-80e9-57d2ed9dcaf7" providerId="AD" clId="Web-{81B4419E-5722-F022-551A-162271794161}" dt="2024-12-06T10:43:38.258" v="52"/>
          <ac:graphicFrameMkLst>
            <pc:docMk/>
            <pc:sldMk cId="3826332343" sldId="272"/>
            <ac:graphicFrameMk id="11" creationId="{D4E86906-139D-83A2-B5DD-E2BE29B5B7E8}"/>
          </ac:graphicFrameMkLst>
        </pc:graphicFrameChg>
      </pc:sldChg>
    </pc:docChg>
  </pc:docChgLst>
  <pc:docChgLst>
    <pc:chgData name="Oğuz Öztekin" userId="33c0df0f-d5fe-4bda-8f43-141ad7af67e3" providerId="ADAL" clId="{7671717B-C626-45BA-B33A-078C0D9E0397}"/>
    <pc:docChg chg="undo custSel addSld delSld modSld">
      <pc:chgData name="Oğuz Öztekin" userId="33c0df0f-d5fe-4bda-8f43-141ad7af67e3" providerId="ADAL" clId="{7671717B-C626-45BA-B33A-078C0D9E0397}" dt="2024-12-13T10:12:40.936" v="1424" actId="1076"/>
      <pc:docMkLst>
        <pc:docMk/>
      </pc:docMkLst>
      <pc:sldChg chg="modSp mod">
        <pc:chgData name="Oğuz Öztekin" userId="33c0df0f-d5fe-4bda-8f43-141ad7af67e3" providerId="ADAL" clId="{7671717B-C626-45BA-B33A-078C0D9E0397}" dt="2024-12-12T06:31:00.429" v="640" actId="20577"/>
        <pc:sldMkLst>
          <pc:docMk/>
          <pc:sldMk cId="3866243125" sldId="265"/>
        </pc:sldMkLst>
        <pc:spChg chg="mod">
          <ac:chgData name="Oğuz Öztekin" userId="33c0df0f-d5fe-4bda-8f43-141ad7af67e3" providerId="ADAL" clId="{7671717B-C626-45BA-B33A-078C0D9E0397}" dt="2024-12-12T06:31:00.429" v="640" actId="20577"/>
          <ac:spMkLst>
            <pc:docMk/>
            <pc:sldMk cId="3866243125" sldId="265"/>
            <ac:spMk id="5" creationId="{9D6203CA-6F42-C419-8F75-E67705ED2CC5}"/>
          </ac:spMkLst>
        </pc:spChg>
      </pc:sldChg>
      <pc:sldChg chg="addSp delSp modSp mod">
        <pc:chgData name="Oğuz Öztekin" userId="33c0df0f-d5fe-4bda-8f43-141ad7af67e3" providerId="ADAL" clId="{7671717B-C626-45BA-B33A-078C0D9E0397}" dt="2024-12-12T11:46:30.259" v="1123" actId="21"/>
        <pc:sldMkLst>
          <pc:docMk/>
          <pc:sldMk cId="173792906" sldId="282"/>
        </pc:sldMkLst>
        <pc:spChg chg="add mod">
          <ac:chgData name="Oğuz Öztekin" userId="33c0df0f-d5fe-4bda-8f43-141ad7af67e3" providerId="ADAL" clId="{7671717B-C626-45BA-B33A-078C0D9E0397}" dt="2024-12-11T08:21:01.048" v="129" actId="20577"/>
          <ac:spMkLst>
            <pc:docMk/>
            <pc:sldMk cId="173792906" sldId="282"/>
            <ac:spMk id="3" creationId="{AA432986-BE33-C2A5-521B-A1B8AE172037}"/>
          </ac:spMkLst>
        </pc:spChg>
        <pc:spChg chg="add del mod">
          <ac:chgData name="Oğuz Öztekin" userId="33c0df0f-d5fe-4bda-8f43-141ad7af67e3" providerId="ADAL" clId="{7671717B-C626-45BA-B33A-078C0D9E0397}" dt="2024-12-12T10:20:34.965" v="645" actId="21"/>
          <ac:spMkLst>
            <pc:docMk/>
            <pc:sldMk cId="173792906" sldId="282"/>
            <ac:spMk id="4" creationId="{7E73011F-CC02-630B-8AC4-38EACC13EBC3}"/>
          </ac:spMkLst>
        </pc:spChg>
        <pc:spChg chg="add del mod">
          <ac:chgData name="Oğuz Öztekin" userId="33c0df0f-d5fe-4bda-8f43-141ad7af67e3" providerId="ADAL" clId="{7671717B-C626-45BA-B33A-078C0D9E0397}" dt="2024-12-12T11:46:11.880" v="1121" actId="478"/>
          <ac:spMkLst>
            <pc:docMk/>
            <pc:sldMk cId="173792906" sldId="282"/>
            <ac:spMk id="5" creationId="{8D914578-CD68-8277-980B-C821806E4F5B}"/>
          </ac:spMkLst>
        </pc:spChg>
        <pc:spChg chg="mod">
          <ac:chgData name="Oğuz Öztekin" userId="33c0df0f-d5fe-4bda-8f43-141ad7af67e3" providerId="ADAL" clId="{7671717B-C626-45BA-B33A-078C0D9E0397}" dt="2024-12-11T08:49:06.458" v="320" actId="404"/>
          <ac:spMkLst>
            <pc:docMk/>
            <pc:sldMk cId="173792906" sldId="282"/>
            <ac:spMk id="17" creationId="{89662DE6-4341-CDF2-B39E-79FEB5FFF5F9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2" creationId="{28D9B5E8-8955-AAD7-B852-46635913F1CF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3" creationId="{30954708-0DAB-0356-2C83-28A99F16B070}"/>
          </ac:spMkLst>
        </pc:spChg>
        <pc:spChg chg="mod">
          <ac:chgData name="Oğuz Öztekin" userId="33c0df0f-d5fe-4bda-8f43-141ad7af67e3" providerId="ADAL" clId="{7671717B-C626-45BA-B33A-078C0D9E0397}" dt="2024-12-11T08:13:29.899" v="42" actId="1036"/>
          <ac:spMkLst>
            <pc:docMk/>
            <pc:sldMk cId="173792906" sldId="282"/>
            <ac:spMk id="24" creationId="{0EE67AC4-53A4-DAAB-AC16-1E206A55B678}"/>
          </ac:spMkLst>
        </pc:spChg>
        <pc:spChg chg="mod">
          <ac:chgData name="Oğuz Öztekin" userId="33c0df0f-d5fe-4bda-8f43-141ad7af67e3" providerId="ADAL" clId="{7671717B-C626-45BA-B33A-078C0D9E0397}" dt="2024-12-11T10:59:22.755" v="602" actId="120"/>
          <ac:spMkLst>
            <pc:docMk/>
            <pc:sldMk cId="173792906" sldId="282"/>
            <ac:spMk id="26" creationId="{9B7FA586-2C05-8591-D029-3B25481E7444}"/>
          </ac:spMkLst>
        </pc:spChg>
        <pc:graphicFrameChg chg="add del modGraphic">
          <ac:chgData name="Oğuz Öztekin" userId="33c0df0f-d5fe-4bda-8f43-141ad7af67e3" providerId="ADAL" clId="{7671717B-C626-45BA-B33A-078C0D9E0397}" dt="2024-12-12T11:46:30.259" v="1123" actId="21"/>
          <ac:graphicFrameMkLst>
            <pc:docMk/>
            <pc:sldMk cId="173792906" sldId="282"/>
            <ac:graphicFrameMk id="7" creationId="{8DFF7C6B-F1F4-7123-F2C1-0A046DC44989}"/>
          </ac:graphicFrameMkLst>
        </pc:graphicFrame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6" creationId="{633FA63A-84EB-AF5C-A666-88D49D6AE4B5}"/>
          </ac:picMkLst>
        </pc:picChg>
        <pc:picChg chg="add del">
          <ac:chgData name="Oğuz Öztekin" userId="33c0df0f-d5fe-4bda-8f43-141ad7af67e3" providerId="ADAL" clId="{7671717B-C626-45BA-B33A-078C0D9E0397}" dt="2024-12-11T08:13:18.882" v="17" actId="478"/>
          <ac:picMkLst>
            <pc:docMk/>
            <pc:sldMk cId="173792906" sldId="282"/>
            <ac:picMk id="8" creationId="{8710B19A-9845-1F3B-1FA0-870AB7C8B318}"/>
          </ac:picMkLst>
        </pc:picChg>
        <pc:picChg chg="del">
          <ac:chgData name="Oğuz Öztekin" userId="33c0df0f-d5fe-4bda-8f43-141ad7af67e3" providerId="ADAL" clId="{7671717B-C626-45BA-B33A-078C0D9E0397}" dt="2024-12-11T08:04:17.086" v="0" actId="478"/>
          <ac:picMkLst>
            <pc:docMk/>
            <pc:sldMk cId="173792906" sldId="282"/>
            <ac:picMk id="12" creationId="{8B365F46-BB10-7B4D-767A-ECE0DDBBE5BF}"/>
          </ac:picMkLst>
        </pc:pic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16" creationId="{00109AB0-C54E-5DFC-B26C-A725305701C9}"/>
          </ac:picMkLst>
        </pc:picChg>
        <pc:picChg chg="mod">
          <ac:chgData name="Oğuz Öztekin" userId="33c0df0f-d5fe-4bda-8f43-141ad7af67e3" providerId="ADAL" clId="{7671717B-C626-45BA-B33A-078C0D9E0397}" dt="2024-12-11T08:13:29.899" v="42" actId="1036"/>
          <ac:picMkLst>
            <pc:docMk/>
            <pc:sldMk cId="173792906" sldId="282"/>
            <ac:picMk id="21" creationId="{F3B6D292-5F06-DDD6-B10E-E50930B55CCB}"/>
          </ac:picMkLst>
        </pc:picChg>
      </pc:sldChg>
      <pc:sldChg chg="addSp delSp modSp mod">
        <pc:chgData name="Oğuz Öztekin" userId="33c0df0f-d5fe-4bda-8f43-141ad7af67e3" providerId="ADAL" clId="{7671717B-C626-45BA-B33A-078C0D9E0397}" dt="2024-12-13T10:00:26.389" v="1284" actId="20577"/>
        <pc:sldMkLst>
          <pc:docMk/>
          <pc:sldMk cId="1730444853" sldId="285"/>
        </pc:sldMkLst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4" creationId="{ABED0885-BF92-BBA9-93EA-BCADE2754F79}"/>
          </ac:spMkLst>
        </pc:spChg>
        <pc:spChg chg="mod">
          <ac:chgData name="Oğuz Öztekin" userId="33c0df0f-d5fe-4bda-8f43-141ad7af67e3" providerId="ADAL" clId="{7671717B-C626-45BA-B33A-078C0D9E0397}" dt="2024-12-13T10:00:26.389" v="1284" actId="20577"/>
          <ac:spMkLst>
            <pc:docMk/>
            <pc:sldMk cId="1730444853" sldId="285"/>
            <ac:spMk id="5" creationId="{600A7937-C68B-6947-C539-3897C4C1FF53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7" creationId="{354243B6-9532-D3B0-216F-DBCD5576B78C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9" creationId="{41F63162-675A-89EF-0F59-AC7A0077CB93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10" creationId="{47CB1277-85E4-88A5-E2C4-231E6ABC0971}"/>
          </ac:spMkLst>
        </pc:spChg>
        <pc:spChg chg="add mod">
          <ac:chgData name="Oğuz Öztekin" userId="33c0df0f-d5fe-4bda-8f43-141ad7af67e3" providerId="ADAL" clId="{7671717B-C626-45BA-B33A-078C0D9E0397}" dt="2024-12-11T09:10:35.566" v="392"/>
          <ac:spMkLst>
            <pc:docMk/>
            <pc:sldMk cId="1730444853" sldId="285"/>
            <ac:spMk id="11" creationId="{ACC03D6D-183E-298D-DE68-FD78194C562C}"/>
          </ac:spMkLst>
        </pc:spChg>
        <pc:spChg chg="add del mod">
          <ac:chgData name="Oğuz Öztekin" userId="33c0df0f-d5fe-4bda-8f43-141ad7af67e3" providerId="ADAL" clId="{7671717B-C626-45BA-B33A-078C0D9E0397}" dt="2024-12-12T12:32:06.592" v="1127" actId="478"/>
          <ac:spMkLst>
            <pc:docMk/>
            <pc:sldMk cId="1730444853" sldId="285"/>
            <ac:spMk id="13" creationId="{E01984C0-8C4F-65A8-E8CC-0CC41F81B95C}"/>
          </ac:spMkLst>
        </pc:spChg>
        <pc:spChg chg="add">
          <ac:chgData name="Oğuz Öztekin" userId="33c0df0f-d5fe-4bda-8f43-141ad7af67e3" providerId="ADAL" clId="{7671717B-C626-45BA-B33A-078C0D9E0397}" dt="2024-12-11T09:21:32.659" v="412"/>
          <ac:spMkLst>
            <pc:docMk/>
            <pc:sldMk cId="1730444853" sldId="285"/>
            <ac:spMk id="18" creationId="{7F2D7365-70BC-1BA8-46EA-13675FFC7780}"/>
          </ac:spMkLst>
        </pc:sp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3" creationId="{25898721-F787-C2B8-A2F2-DB8C10EE6401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6" creationId="{F6CC536B-4BD7-E3A1-59E5-0C8ADA6FE41E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8" creationId="{302F2DD5-45F8-C893-FB4D-0986C140738B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2" creationId="{672E2BDC-BDDD-D07C-79D0-60C57A2A3A13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4" creationId="{E0EF2C61-6878-BD37-125F-127A45B630B7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5" creationId="{0AED72C6-3506-2279-79D3-D640C8AD81D9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6" creationId="{474CCE55-76E1-44CF-C0BD-2FDC53970798}"/>
          </ac:picMkLst>
        </pc:picChg>
        <pc:picChg chg="add mod">
          <ac:chgData name="Oğuz Öztekin" userId="33c0df0f-d5fe-4bda-8f43-141ad7af67e3" providerId="ADAL" clId="{7671717B-C626-45BA-B33A-078C0D9E0397}" dt="2024-12-11T09:10:35.566" v="392"/>
          <ac:picMkLst>
            <pc:docMk/>
            <pc:sldMk cId="1730444853" sldId="285"/>
            <ac:picMk id="17" creationId="{F251AC32-35C6-B578-EDC3-6CC025246ED8}"/>
          </ac:picMkLst>
        </pc:picChg>
      </pc:sldChg>
      <pc:sldChg chg="addSp delSp modSp mod">
        <pc:chgData name="Oğuz Öztekin" userId="33c0df0f-d5fe-4bda-8f43-141ad7af67e3" providerId="ADAL" clId="{7671717B-C626-45BA-B33A-078C0D9E0397}" dt="2024-12-13T09:59:17.952" v="1276" actId="120"/>
        <pc:sldMkLst>
          <pc:docMk/>
          <pc:sldMk cId="1219213586" sldId="291"/>
        </pc:sldMkLst>
        <pc:spChg chg="add mod">
          <ac:chgData name="Oğuz Öztekin" userId="33c0df0f-d5fe-4bda-8f43-141ad7af67e3" providerId="ADAL" clId="{7671717B-C626-45BA-B33A-078C0D9E0397}" dt="2024-12-11T08:49:02.395" v="319" actId="404"/>
          <ac:spMkLst>
            <pc:docMk/>
            <pc:sldMk cId="1219213586" sldId="291"/>
            <ac:spMk id="6" creationId="{EB2BF78A-905A-F756-3DE2-42F649517BD6}"/>
          </ac:spMkLst>
        </pc:spChg>
        <pc:spChg chg="add mod">
          <ac:chgData name="Oğuz Öztekin" userId="33c0df0f-d5fe-4bda-8f43-141ad7af67e3" providerId="ADAL" clId="{7671717B-C626-45BA-B33A-078C0D9E0397}" dt="2024-12-11T08:13:49.238" v="44"/>
          <ac:spMkLst>
            <pc:docMk/>
            <pc:sldMk cId="1219213586" sldId="291"/>
            <ac:spMk id="9" creationId="{36E31313-15E8-58C0-C0CC-7692206B21CC}"/>
          </ac:spMkLst>
        </pc:spChg>
        <pc:spChg chg="add mod">
          <ac:chgData name="Oğuz Öztekin" userId="33c0df0f-d5fe-4bda-8f43-141ad7af67e3" providerId="ADAL" clId="{7671717B-C626-45BA-B33A-078C0D9E0397}" dt="2024-12-11T08:14:31.004" v="56"/>
          <ac:spMkLst>
            <pc:docMk/>
            <pc:sldMk cId="1219213586" sldId="291"/>
            <ac:spMk id="10" creationId="{A8015D4C-5D22-78AC-17A0-16A17FFA87DF}"/>
          </ac:spMkLst>
        </pc:spChg>
        <pc:spChg chg="mod">
          <ac:chgData name="Oğuz Öztekin" userId="33c0df0f-d5fe-4bda-8f43-141ad7af67e3" providerId="ADAL" clId="{7671717B-C626-45BA-B33A-078C0D9E0397}" dt="2024-12-13T09:59:17.952" v="1276" actId="120"/>
          <ac:spMkLst>
            <pc:docMk/>
            <pc:sldMk cId="1219213586" sldId="291"/>
            <ac:spMk id="11" creationId="{FD381ED3-4B0F-06AA-9EBD-40F1C9291ECE}"/>
          </ac:spMkLst>
        </pc:spChg>
        <pc:spChg chg="add mod">
          <ac:chgData name="Oğuz Öztekin" userId="33c0df0f-d5fe-4bda-8f43-141ad7af67e3" providerId="ADAL" clId="{7671717B-C626-45BA-B33A-078C0D9E0397}" dt="2024-12-11T08:13:49.238" v="44"/>
          <ac:spMkLst>
            <pc:docMk/>
            <pc:sldMk cId="1219213586" sldId="291"/>
            <ac:spMk id="12" creationId="{64E68720-5EBC-F54F-E0D5-FA500F187B9E}"/>
          </ac:spMkLst>
        </pc:spChg>
        <pc:spChg chg="add del mod">
          <ac:chgData name="Oğuz Öztekin" userId="33c0df0f-d5fe-4bda-8f43-141ad7af67e3" providerId="ADAL" clId="{7671717B-C626-45BA-B33A-078C0D9E0397}" dt="2024-12-11T08:14:50.684" v="68" actId="478"/>
          <ac:spMkLst>
            <pc:docMk/>
            <pc:sldMk cId="1219213586" sldId="291"/>
            <ac:spMk id="13" creationId="{22A5B1A7-7C39-46AB-2D00-14BF0D09038B}"/>
          </ac:spMkLst>
        </pc:spChg>
        <pc:spChg chg="add mod">
          <ac:chgData name="Oğuz Öztekin" userId="33c0df0f-d5fe-4bda-8f43-141ad7af67e3" providerId="ADAL" clId="{7671717B-C626-45BA-B33A-078C0D9E0397}" dt="2024-12-11T08:20:38.647" v="109" actId="20577"/>
          <ac:spMkLst>
            <pc:docMk/>
            <pc:sldMk cId="1219213586" sldId="291"/>
            <ac:spMk id="14" creationId="{47D0071B-6888-5D7C-2229-7CF14F997143}"/>
          </ac:spMkLst>
        </pc:spChg>
        <pc:spChg chg="del mod">
          <ac:chgData name="Oğuz Öztekin" userId="33c0df0f-d5fe-4bda-8f43-141ad7af67e3" providerId="ADAL" clId="{7671717B-C626-45BA-B33A-078C0D9E0397}" dt="2024-12-11T08:14:23.917" v="54" actId="478"/>
          <ac:spMkLst>
            <pc:docMk/>
            <pc:sldMk cId="1219213586" sldId="291"/>
            <ac:spMk id="17" creationId="{C367CAFB-09B7-74DC-3D45-5C2DA3201A2A}"/>
          </ac:spMkLst>
        </pc:spChg>
        <pc:spChg chg="del">
          <ac:chgData name="Oğuz Öztekin" userId="33c0df0f-d5fe-4bda-8f43-141ad7af67e3" providerId="ADAL" clId="{7671717B-C626-45BA-B33A-078C0D9E0397}" dt="2024-12-11T08:14:03.675" v="48" actId="478"/>
          <ac:spMkLst>
            <pc:docMk/>
            <pc:sldMk cId="1219213586" sldId="291"/>
            <ac:spMk id="22" creationId="{45753A20-C4DB-090C-1C81-A5D96D78E574}"/>
          </ac:spMkLst>
        </pc:spChg>
        <pc:spChg chg="del mod">
          <ac:chgData name="Oğuz Öztekin" userId="33c0df0f-d5fe-4bda-8f43-141ad7af67e3" providerId="ADAL" clId="{7671717B-C626-45BA-B33A-078C0D9E0397}" dt="2024-12-11T08:14:33.253" v="57" actId="478"/>
          <ac:spMkLst>
            <pc:docMk/>
            <pc:sldMk cId="1219213586" sldId="291"/>
            <ac:spMk id="23" creationId="{0ACBEBAC-5EA2-853F-D537-351EB1165A6F}"/>
          </ac:spMkLst>
        </pc:spChg>
        <pc:spChg chg="del">
          <ac:chgData name="Oğuz Öztekin" userId="33c0df0f-d5fe-4bda-8f43-141ad7af67e3" providerId="ADAL" clId="{7671717B-C626-45BA-B33A-078C0D9E0397}" dt="2024-12-11T08:14:34.077" v="58" actId="478"/>
          <ac:spMkLst>
            <pc:docMk/>
            <pc:sldMk cId="1219213586" sldId="291"/>
            <ac:spMk id="24" creationId="{8DA9953B-2E5B-C0CA-5E65-D10260A7194F}"/>
          </ac:spMkLst>
        </pc:spChg>
        <pc:picChg chg="add del mod">
          <ac:chgData name="Oğuz Öztekin" userId="33c0df0f-d5fe-4bda-8f43-141ad7af67e3" providerId="ADAL" clId="{7671717B-C626-45BA-B33A-078C0D9E0397}" dt="2024-12-11T08:14:00.130" v="46" actId="478"/>
          <ac:picMkLst>
            <pc:docMk/>
            <pc:sldMk cId="1219213586" sldId="291"/>
            <ac:picMk id="3" creationId="{B905485D-4DAF-A285-AC9F-1796334C0969}"/>
          </ac:picMkLst>
        </pc:picChg>
        <pc:picChg chg="mod">
          <ac:chgData name="Oğuz Öztekin" userId="33c0df0f-d5fe-4bda-8f43-141ad7af67e3" providerId="ADAL" clId="{7671717B-C626-45BA-B33A-078C0D9E0397}" dt="2024-12-11T08:13:56.625" v="45" actId="1076"/>
          <ac:picMkLst>
            <pc:docMk/>
            <pc:sldMk cId="1219213586" sldId="291"/>
            <ac:picMk id="4" creationId="{704BDA34-FF55-D1BD-A22A-0BD090C026E1}"/>
          </ac:picMkLst>
        </pc:picChg>
        <pc:picChg chg="add mod">
          <ac:chgData name="Oğuz Öztekin" userId="33c0df0f-d5fe-4bda-8f43-141ad7af67e3" providerId="ADAL" clId="{7671717B-C626-45BA-B33A-078C0D9E0397}" dt="2024-12-11T08:13:49.238" v="44"/>
          <ac:picMkLst>
            <pc:docMk/>
            <pc:sldMk cId="1219213586" sldId="291"/>
            <ac:picMk id="5" creationId="{C81ACAC0-71D8-D134-8628-9A7F5069E0BF}"/>
          </ac:picMkLst>
        </pc:picChg>
        <pc:picChg chg="del">
          <ac:chgData name="Oğuz Öztekin" userId="33c0df0f-d5fe-4bda-8f43-141ad7af67e3" providerId="ADAL" clId="{7671717B-C626-45BA-B33A-078C0D9E0397}" dt="2024-12-11T08:14:01.762" v="47" actId="478"/>
          <ac:picMkLst>
            <pc:docMk/>
            <pc:sldMk cId="1219213586" sldId="291"/>
            <ac:picMk id="7" creationId="{029C89A7-8759-0C65-53AB-86AA07085606}"/>
          </ac:picMkLst>
        </pc:picChg>
        <pc:picChg chg="add mod">
          <ac:chgData name="Oğuz Öztekin" userId="33c0df0f-d5fe-4bda-8f43-141ad7af67e3" providerId="ADAL" clId="{7671717B-C626-45BA-B33A-078C0D9E0397}" dt="2024-12-11T08:13:49.238" v="44"/>
          <ac:picMkLst>
            <pc:docMk/>
            <pc:sldMk cId="1219213586" sldId="291"/>
            <ac:picMk id="8" creationId="{4B7C41BC-C9BF-7489-8D0A-6135BCC5BB16}"/>
          </ac:picMkLst>
        </pc:picChg>
        <pc:picChg chg="add mod">
          <ac:chgData name="Oğuz Öztekin" userId="33c0df0f-d5fe-4bda-8f43-141ad7af67e3" providerId="ADAL" clId="{7671717B-C626-45BA-B33A-078C0D9E0397}" dt="2024-12-11T08:33:48.387" v="212" actId="1076"/>
          <ac:picMkLst>
            <pc:docMk/>
            <pc:sldMk cId="1219213586" sldId="291"/>
            <ac:picMk id="18" creationId="{BF96419E-2505-8707-7DE7-3A67690BF774}"/>
          </ac:picMkLst>
        </pc:picChg>
      </pc:sldChg>
      <pc:sldChg chg="addSp delSp modSp del mod">
        <pc:chgData name="Oğuz Öztekin" userId="33c0df0f-d5fe-4bda-8f43-141ad7af67e3" providerId="ADAL" clId="{7671717B-C626-45BA-B33A-078C0D9E0397}" dt="2024-12-11T08:28:20.432" v="188" actId="47"/>
        <pc:sldMkLst>
          <pc:docMk/>
          <pc:sldMk cId="1560558835" sldId="292"/>
        </pc:sldMkLst>
        <pc:picChg chg="add del mod">
          <ac:chgData name="Oğuz Öztekin" userId="33c0df0f-d5fe-4bda-8f43-141ad7af67e3" providerId="ADAL" clId="{7671717B-C626-45BA-B33A-078C0D9E0397}" dt="2024-12-11T08:17:33.038" v="73" actId="21"/>
          <ac:picMkLst>
            <pc:docMk/>
            <pc:sldMk cId="1560558835" sldId="292"/>
            <ac:picMk id="6" creationId="{92054B15-9D69-B776-ED04-9F68527BA054}"/>
          </ac:picMkLst>
        </pc:picChg>
      </pc:sldChg>
      <pc:sldChg chg="del">
        <pc:chgData name="Oğuz Öztekin" userId="33c0df0f-d5fe-4bda-8f43-141ad7af67e3" providerId="ADAL" clId="{7671717B-C626-45BA-B33A-078C0D9E0397}" dt="2024-12-11T08:28:39.140" v="189" actId="2696"/>
        <pc:sldMkLst>
          <pc:docMk/>
          <pc:sldMk cId="456118957" sldId="293"/>
        </pc:sldMkLst>
      </pc:sldChg>
      <pc:sldChg chg="del">
        <pc:chgData name="Oğuz Öztekin" userId="33c0df0f-d5fe-4bda-8f43-141ad7af67e3" providerId="ADAL" clId="{7671717B-C626-45BA-B33A-078C0D9E0397}" dt="2024-12-11T08:42:56.819" v="267" actId="2696"/>
        <pc:sldMkLst>
          <pc:docMk/>
          <pc:sldMk cId="2578389252" sldId="294"/>
        </pc:sldMkLst>
      </pc:sldChg>
      <pc:sldChg chg="del">
        <pc:chgData name="Oğuz Öztekin" userId="33c0df0f-d5fe-4bda-8f43-141ad7af67e3" providerId="ADAL" clId="{7671717B-C626-45BA-B33A-078C0D9E0397}" dt="2024-12-11T08:50:05.724" v="322" actId="2696"/>
        <pc:sldMkLst>
          <pc:docMk/>
          <pc:sldMk cId="1804213171" sldId="295"/>
        </pc:sldMkLst>
      </pc:sldChg>
      <pc:sldChg chg="del">
        <pc:chgData name="Oğuz Öztekin" userId="33c0df0f-d5fe-4bda-8f43-141ad7af67e3" providerId="ADAL" clId="{7671717B-C626-45BA-B33A-078C0D9E0397}" dt="2024-12-11T09:01:28.096" v="356" actId="2696"/>
        <pc:sldMkLst>
          <pc:docMk/>
          <pc:sldMk cId="1870315123" sldId="296"/>
        </pc:sldMkLst>
      </pc:sldChg>
      <pc:sldChg chg="del">
        <pc:chgData name="Oğuz Öztekin" userId="33c0df0f-d5fe-4bda-8f43-141ad7af67e3" providerId="ADAL" clId="{7671717B-C626-45BA-B33A-078C0D9E0397}" dt="2024-12-11T08:56:12.917" v="324" actId="2696"/>
        <pc:sldMkLst>
          <pc:docMk/>
          <pc:sldMk cId="1836466022" sldId="297"/>
        </pc:sldMkLst>
      </pc:sldChg>
      <pc:sldChg chg="del">
        <pc:chgData name="Oğuz Öztekin" userId="33c0df0f-d5fe-4bda-8f43-141ad7af67e3" providerId="ADAL" clId="{7671717B-C626-45BA-B33A-078C0D9E0397}" dt="2024-12-11T09:04:48.400" v="385" actId="2696"/>
        <pc:sldMkLst>
          <pc:docMk/>
          <pc:sldMk cId="2836242812" sldId="298"/>
        </pc:sldMkLst>
      </pc:sldChg>
      <pc:sldChg chg="del">
        <pc:chgData name="Oğuz Öztekin" userId="33c0df0f-d5fe-4bda-8f43-141ad7af67e3" providerId="ADAL" clId="{7671717B-C626-45BA-B33A-078C0D9E0397}" dt="2024-12-11T08:50:17.059" v="323" actId="2696"/>
        <pc:sldMkLst>
          <pc:docMk/>
          <pc:sldMk cId="2857301006" sldId="299"/>
        </pc:sldMkLst>
      </pc:sldChg>
      <pc:sldChg chg="addSp delSp modSp mod">
        <pc:chgData name="Oğuz Öztekin" userId="33c0df0f-d5fe-4bda-8f43-141ad7af67e3" providerId="ADAL" clId="{7671717B-C626-45BA-B33A-078C0D9E0397}" dt="2024-12-13T10:11:12.770" v="1423" actId="1036"/>
        <pc:sldMkLst>
          <pc:docMk/>
          <pc:sldMk cId="1169620162" sldId="300"/>
        </pc:sldMkLst>
        <pc:spChg chg="mod">
          <ac:chgData name="Oğuz Öztekin" userId="33c0df0f-d5fe-4bda-8f43-141ad7af67e3" providerId="ADAL" clId="{7671717B-C626-45BA-B33A-078C0D9E0397}" dt="2024-12-11T10:13:48.163" v="524" actId="1076"/>
          <ac:spMkLst>
            <pc:docMk/>
            <pc:sldMk cId="1169620162" sldId="300"/>
            <ac:spMk id="5" creationId="{023D7789-A84C-C40F-7E44-A8648DF4D433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6" creationId="{0289B17E-3E63-C4D0-4220-4A700327B8DA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7" creationId="{4087CA3D-86DD-0964-805B-698465C51E22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0" creationId="{A6B21EE1-78D1-E858-F454-19E9647C717A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1" creationId="{9FEB7304-D1C6-1D74-EB15-AD09696B35D9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2" creationId="{C95F3592-3F34-387F-BF09-54FE8A1BBD2E}"/>
          </ac:spMkLst>
        </pc:spChg>
        <pc:spChg chg="add mod">
          <ac:chgData name="Oğuz Öztekin" userId="33c0df0f-d5fe-4bda-8f43-141ad7af67e3" providerId="ADAL" clId="{7671717B-C626-45BA-B33A-078C0D9E0397}" dt="2024-12-13T10:11:12.770" v="1423" actId="1036"/>
          <ac:spMkLst>
            <pc:docMk/>
            <pc:sldMk cId="1169620162" sldId="300"/>
            <ac:spMk id="19" creationId="{EAB55965-EEA3-B7B7-B3CC-3EADCA74AF13}"/>
          </ac:spMkLst>
        </pc:spChg>
        <pc:picChg chg="add del mod">
          <ac:chgData name="Oğuz Öztekin" userId="33c0df0f-d5fe-4bda-8f43-141ad7af67e3" providerId="ADAL" clId="{7671717B-C626-45BA-B33A-078C0D9E0397}" dt="2024-12-11T10:07:46.857" v="426" actId="478"/>
          <ac:picMkLst>
            <pc:docMk/>
            <pc:sldMk cId="1169620162" sldId="300"/>
            <ac:picMk id="4" creationId="{5E73C5E0-3E4C-EBA8-DF7C-14D470CACA4E}"/>
          </ac:picMkLst>
        </pc:picChg>
        <pc:picChg chg="add del mod">
          <ac:chgData name="Oğuz Öztekin" userId="33c0df0f-d5fe-4bda-8f43-141ad7af67e3" providerId="ADAL" clId="{7671717B-C626-45BA-B33A-078C0D9E0397}" dt="2024-12-12T10:38:46.946" v="697" actId="478"/>
          <ac:picMkLst>
            <pc:docMk/>
            <pc:sldMk cId="1169620162" sldId="300"/>
            <ac:picMk id="8" creationId="{133A8940-F261-3F6F-2730-4D9A905965D6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9" creationId="{B7DE43CE-4940-2FEA-F878-8F3B73DE45D5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4" creationId="{3F0543E7-0DF6-49F5-7B08-1EEA1BEE3882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5" creationId="{B8529641-4EA3-10BC-141F-7E23BD13CC87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6" creationId="{AC92F01D-0FBC-9267-71B8-DBEA53583BB2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18" creationId="{AB902A7F-9FAC-236B-DFF4-7EA64D290C31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0" creationId="{E503AE43-B4B6-87C7-E2F7-20E75C6C39E3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1" creationId="{6B075EB2-78E7-2D84-B113-3D4CA28593ED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2" creationId="{2C81CE48-E48C-F5A7-381F-7CD79A67B1E3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4" creationId="{933367F5-3067-1099-1254-184F315A59CD}"/>
          </ac:picMkLst>
        </pc:picChg>
        <pc:picChg chg="add mod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5" creationId="{2F98A76A-A76E-D6F0-BB2F-C456337AFF22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6" creationId="{64C86549-1CAC-953C-021D-16F772A28C7F}"/>
          </ac:picMkLst>
        </pc:picChg>
        <pc:picChg chg="add mod modCrop">
          <ac:chgData name="Oğuz Öztekin" userId="33c0df0f-d5fe-4bda-8f43-141ad7af67e3" providerId="ADAL" clId="{7671717B-C626-45BA-B33A-078C0D9E0397}" dt="2024-12-13T10:11:12.770" v="1423" actId="1036"/>
          <ac:picMkLst>
            <pc:docMk/>
            <pc:sldMk cId="1169620162" sldId="300"/>
            <ac:picMk id="28" creationId="{4BC0A087-8CE7-2B9C-5B1A-795D313B5A06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25.015" v="1277" actId="120"/>
        <pc:sldMkLst>
          <pc:docMk/>
          <pc:sldMk cId="322219125" sldId="301"/>
        </pc:sldMkLst>
        <pc:spChg chg="mod">
          <ac:chgData name="Oğuz Öztekin" userId="33c0df0f-d5fe-4bda-8f43-141ad7af67e3" providerId="ADAL" clId="{7671717B-C626-45BA-B33A-078C0D9E0397}" dt="2024-12-11T08:48:56.984" v="318" actId="404"/>
          <ac:spMkLst>
            <pc:docMk/>
            <pc:sldMk cId="322219125" sldId="301"/>
            <ac:spMk id="6" creationId="{14E86D72-7441-C1F6-1CDA-796DCE23CBFB}"/>
          </ac:spMkLst>
        </pc:spChg>
        <pc:spChg chg="mod">
          <ac:chgData name="Oğuz Öztekin" userId="33c0df0f-d5fe-4bda-8f43-141ad7af67e3" providerId="ADAL" clId="{7671717B-C626-45BA-B33A-078C0D9E0397}" dt="2024-12-11T08:23:32.987" v="140"/>
          <ac:spMkLst>
            <pc:docMk/>
            <pc:sldMk cId="322219125" sldId="301"/>
            <ac:spMk id="10" creationId="{D90D0EE8-3A79-5BD4-4687-09AB5103C6D5}"/>
          </ac:spMkLst>
        </pc:spChg>
        <pc:spChg chg="mod">
          <ac:chgData name="Oğuz Öztekin" userId="33c0df0f-d5fe-4bda-8f43-141ad7af67e3" providerId="ADAL" clId="{7671717B-C626-45BA-B33A-078C0D9E0397}" dt="2024-12-13T09:59:25.015" v="1277" actId="120"/>
          <ac:spMkLst>
            <pc:docMk/>
            <pc:sldMk cId="322219125" sldId="301"/>
            <ac:spMk id="11" creationId="{688A3D41-A9F9-7E58-8828-B46E26776B07}"/>
          </ac:spMkLst>
        </pc:spChg>
        <pc:spChg chg="add del">
          <ac:chgData name="Oğuz Öztekin" userId="33c0df0f-d5fe-4bda-8f43-141ad7af67e3" providerId="ADAL" clId="{7671717B-C626-45BA-B33A-078C0D9E0397}" dt="2024-12-11T08:21:44.901" v="131" actId="22"/>
          <ac:spMkLst>
            <pc:docMk/>
            <pc:sldMk cId="322219125" sldId="301"/>
            <ac:spMk id="13" creationId="{192E1D7E-D7A9-653D-389A-335568CD7FBC}"/>
          </ac:spMkLst>
        </pc:spChg>
        <pc:spChg chg="add mod">
          <ac:chgData name="Oğuz Öztekin" userId="33c0df0f-d5fe-4bda-8f43-141ad7af67e3" providerId="ADAL" clId="{7671717B-C626-45BA-B33A-078C0D9E0397}" dt="2024-12-11T08:27:52.132" v="186" actId="20577"/>
          <ac:spMkLst>
            <pc:docMk/>
            <pc:sldMk cId="322219125" sldId="301"/>
            <ac:spMk id="19" creationId="{A333F1E1-ABA6-6247-7034-4E3B3D85D865}"/>
          </ac:spMkLst>
        </pc:spChg>
        <pc:picChg chg="add mod">
          <ac:chgData name="Oğuz Öztekin" userId="33c0df0f-d5fe-4bda-8f43-141ad7af67e3" providerId="ADAL" clId="{7671717B-C626-45BA-B33A-078C0D9E0397}" dt="2024-12-11T08:18:28.228" v="92" actId="1076"/>
          <ac:picMkLst>
            <pc:docMk/>
            <pc:sldMk cId="322219125" sldId="301"/>
            <ac:picMk id="3" creationId="{92054B15-9D69-B776-ED04-9F68527BA054}"/>
          </ac:picMkLst>
        </pc:picChg>
        <pc:picChg chg="add del mod">
          <ac:chgData name="Oğuz Öztekin" userId="33c0df0f-d5fe-4bda-8f43-141ad7af67e3" providerId="ADAL" clId="{7671717B-C626-45BA-B33A-078C0D9E0397}" dt="2024-12-11T08:22:14.625" v="136" actId="478"/>
          <ac:picMkLst>
            <pc:docMk/>
            <pc:sldMk cId="322219125" sldId="301"/>
            <ac:picMk id="15" creationId="{35BAE7C4-9778-7C37-7A68-0FB97BDBF6E6}"/>
          </ac:picMkLst>
        </pc:picChg>
        <pc:picChg chg="add mod">
          <ac:chgData name="Oğuz Öztekin" userId="33c0df0f-d5fe-4bda-8f43-141ad7af67e3" providerId="ADAL" clId="{7671717B-C626-45BA-B33A-078C0D9E0397}" dt="2024-12-11T08:22:46.774" v="139" actId="1076"/>
          <ac:picMkLst>
            <pc:docMk/>
            <pc:sldMk cId="322219125" sldId="301"/>
            <ac:picMk id="18" creationId="{88D83A97-3FBF-204D-063C-3D4822646EC0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30.521" v="1278" actId="120"/>
        <pc:sldMkLst>
          <pc:docMk/>
          <pc:sldMk cId="3347764341" sldId="302"/>
        </pc:sldMkLst>
        <pc:spChg chg="mod">
          <ac:chgData name="Oğuz Öztekin" userId="33c0df0f-d5fe-4bda-8f43-141ad7af67e3" providerId="ADAL" clId="{7671717B-C626-45BA-B33A-078C0D9E0397}" dt="2024-12-11T08:48:52.948" v="317" actId="404"/>
          <ac:spMkLst>
            <pc:docMk/>
            <pc:sldMk cId="3347764341" sldId="302"/>
            <ac:spMk id="6" creationId="{AF58F43B-EAE2-67F9-57DB-C6A3427DFF6A}"/>
          </ac:spMkLst>
        </pc:spChg>
        <pc:spChg chg="mod">
          <ac:chgData name="Oğuz Öztekin" userId="33c0df0f-d5fe-4bda-8f43-141ad7af67e3" providerId="ADAL" clId="{7671717B-C626-45BA-B33A-078C0D9E0397}" dt="2024-12-11T08:36:33.178" v="266" actId="20577"/>
          <ac:spMkLst>
            <pc:docMk/>
            <pc:sldMk cId="3347764341" sldId="302"/>
            <ac:spMk id="10" creationId="{82B14BE5-E4AA-FD63-64B5-7DFE8A43EACF}"/>
          </ac:spMkLst>
        </pc:spChg>
        <pc:spChg chg="mod">
          <ac:chgData name="Oğuz Öztekin" userId="33c0df0f-d5fe-4bda-8f43-141ad7af67e3" providerId="ADAL" clId="{7671717B-C626-45BA-B33A-078C0D9E0397}" dt="2024-12-13T09:59:30.521" v="1278" actId="120"/>
          <ac:spMkLst>
            <pc:docMk/>
            <pc:sldMk cId="3347764341" sldId="302"/>
            <ac:spMk id="11" creationId="{44FAA8AA-28A1-49FC-FF2F-B4B075C4F214}"/>
          </ac:spMkLst>
        </pc:spChg>
        <pc:spChg chg="mod">
          <ac:chgData name="Oğuz Öztekin" userId="33c0df0f-d5fe-4bda-8f43-141ad7af67e3" providerId="ADAL" clId="{7671717B-C626-45BA-B33A-078C0D9E0397}" dt="2024-12-11T08:30:46.320" v="196" actId="20577"/>
          <ac:spMkLst>
            <pc:docMk/>
            <pc:sldMk cId="3347764341" sldId="302"/>
            <ac:spMk id="19" creationId="{7E2CBBF4-5B87-BDAC-5C65-ED18BB43FC80}"/>
          </ac:spMkLst>
        </pc:spChg>
        <pc:picChg chg="del">
          <ac:chgData name="Oğuz Öztekin" userId="33c0df0f-d5fe-4bda-8f43-141ad7af67e3" providerId="ADAL" clId="{7671717B-C626-45BA-B33A-078C0D9E0397}" dt="2024-12-11T08:32:06.738" v="206" actId="478"/>
          <ac:picMkLst>
            <pc:docMk/>
            <pc:sldMk cId="3347764341" sldId="302"/>
            <ac:picMk id="3" creationId="{1271D5FA-E1FE-E373-2662-3EE11669FF77}"/>
          </ac:picMkLst>
        </pc:picChg>
        <pc:picChg chg="del">
          <ac:chgData name="Oğuz Öztekin" userId="33c0df0f-d5fe-4bda-8f43-141ad7af67e3" providerId="ADAL" clId="{7671717B-C626-45BA-B33A-078C0D9E0397}" dt="2024-12-11T08:32:08.690" v="207" actId="478"/>
          <ac:picMkLst>
            <pc:docMk/>
            <pc:sldMk cId="3347764341" sldId="302"/>
            <ac:picMk id="4" creationId="{ED64D3DB-DED3-061E-B5E5-9540909E6DD7}"/>
          </ac:picMkLst>
        </pc:picChg>
        <pc:picChg chg="add mod">
          <ac:chgData name="Oğuz Öztekin" userId="33c0df0f-d5fe-4bda-8f43-141ad7af67e3" providerId="ADAL" clId="{7671717B-C626-45BA-B33A-078C0D9E0397}" dt="2024-12-11T08:31:04.011" v="198" actId="1076"/>
          <ac:picMkLst>
            <pc:docMk/>
            <pc:sldMk cId="3347764341" sldId="302"/>
            <ac:picMk id="13" creationId="{CCAF449E-8B7E-8AE7-1664-FE03CD6E6425}"/>
          </ac:picMkLst>
        </pc:picChg>
        <pc:picChg chg="add del mod">
          <ac:chgData name="Oğuz Öztekin" userId="33c0df0f-d5fe-4bda-8f43-141ad7af67e3" providerId="ADAL" clId="{7671717B-C626-45BA-B33A-078C0D9E0397}" dt="2024-12-11T08:31:36.746" v="202" actId="21"/>
          <ac:picMkLst>
            <pc:docMk/>
            <pc:sldMk cId="3347764341" sldId="302"/>
            <ac:picMk id="15" creationId="{EDB5511A-C9DE-69CB-160B-54927363796D}"/>
          </ac:picMkLst>
        </pc:picChg>
        <pc:picChg chg="add mod">
          <ac:chgData name="Oğuz Öztekin" userId="33c0df0f-d5fe-4bda-8f43-141ad7af67e3" providerId="ADAL" clId="{7671717B-C626-45BA-B33A-078C0D9E0397}" dt="2024-12-11T08:32:17.260" v="209" actId="1076"/>
          <ac:picMkLst>
            <pc:docMk/>
            <pc:sldMk cId="3347764341" sldId="302"/>
            <ac:picMk id="20" creationId="{24155AF3-B095-FE29-2075-A45C5E212DDC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42.171" v="1280" actId="120"/>
        <pc:sldMkLst>
          <pc:docMk/>
          <pc:sldMk cId="3423456175" sldId="303"/>
        </pc:sldMkLst>
        <pc:spChg chg="mod">
          <ac:chgData name="Oğuz Öztekin" userId="33c0df0f-d5fe-4bda-8f43-141ad7af67e3" providerId="ADAL" clId="{7671717B-C626-45BA-B33A-078C0D9E0397}" dt="2024-12-11T08:48:46.414" v="316" actId="404"/>
          <ac:spMkLst>
            <pc:docMk/>
            <pc:sldMk cId="3423456175" sldId="303"/>
            <ac:spMk id="6" creationId="{20EF0179-B1FF-980E-301A-CB2376B44D34}"/>
          </ac:spMkLst>
        </pc:spChg>
        <pc:spChg chg="mod">
          <ac:chgData name="Oğuz Öztekin" userId="33c0df0f-d5fe-4bda-8f43-141ad7af67e3" providerId="ADAL" clId="{7671717B-C626-45BA-B33A-078C0D9E0397}" dt="2024-12-11T08:49:48.484" v="321"/>
          <ac:spMkLst>
            <pc:docMk/>
            <pc:sldMk cId="3423456175" sldId="303"/>
            <ac:spMk id="10" creationId="{57211CD2-42E8-E0C2-00D0-D051357033C3}"/>
          </ac:spMkLst>
        </pc:spChg>
        <pc:spChg chg="mod">
          <ac:chgData name="Oğuz Öztekin" userId="33c0df0f-d5fe-4bda-8f43-141ad7af67e3" providerId="ADAL" clId="{7671717B-C626-45BA-B33A-078C0D9E0397}" dt="2024-12-13T09:59:42.171" v="1280" actId="120"/>
          <ac:spMkLst>
            <pc:docMk/>
            <pc:sldMk cId="3423456175" sldId="303"/>
            <ac:spMk id="11" creationId="{AA08BAC2-CA41-B217-ED39-A1A0DE80086A}"/>
          </ac:spMkLst>
        </pc:spChg>
        <pc:spChg chg="mod">
          <ac:chgData name="Oğuz Öztekin" userId="33c0df0f-d5fe-4bda-8f43-141ad7af67e3" providerId="ADAL" clId="{7671717B-C626-45BA-B33A-078C0D9E0397}" dt="2024-12-11T08:46:45.758" v="284" actId="20577"/>
          <ac:spMkLst>
            <pc:docMk/>
            <pc:sldMk cId="3423456175" sldId="303"/>
            <ac:spMk id="19" creationId="{525B95AE-2CFC-D1E4-686B-36791CA7307E}"/>
          </ac:spMkLst>
        </pc:spChg>
        <pc:picChg chg="add mod">
          <ac:chgData name="Oğuz Öztekin" userId="33c0df0f-d5fe-4bda-8f43-141ad7af67e3" providerId="ADAL" clId="{7671717B-C626-45BA-B33A-078C0D9E0397}" dt="2024-12-11T08:45:28.634" v="271" actId="1076"/>
          <ac:picMkLst>
            <pc:docMk/>
            <pc:sldMk cId="3423456175" sldId="303"/>
            <ac:picMk id="4" creationId="{8C50F36D-330C-F3B0-21D4-CC16CB21DFC5}"/>
          </ac:picMkLst>
        </pc:picChg>
        <pc:picChg chg="add mod">
          <ac:chgData name="Oğuz Öztekin" userId="33c0df0f-d5fe-4bda-8f43-141ad7af67e3" providerId="ADAL" clId="{7671717B-C626-45BA-B33A-078C0D9E0397}" dt="2024-12-11T08:46:21.908" v="278" actId="1036"/>
          <ac:picMkLst>
            <pc:docMk/>
            <pc:sldMk cId="3423456175" sldId="303"/>
            <ac:picMk id="14" creationId="{2C7543C9-9098-9031-0D44-1428777348C6}"/>
          </ac:picMkLst>
        </pc:picChg>
        <pc:picChg chg="del">
          <ac:chgData name="Oğuz Öztekin" userId="33c0df0f-d5fe-4bda-8f43-141ad7af67e3" providerId="ADAL" clId="{7671717B-C626-45BA-B33A-078C0D9E0397}" dt="2024-12-11T08:46:18.221" v="276" actId="478"/>
          <ac:picMkLst>
            <pc:docMk/>
            <pc:sldMk cId="3423456175" sldId="303"/>
            <ac:picMk id="20" creationId="{34F73B9C-B4AE-ED6E-EE5C-36B77266CAC0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47.614" v="1281" actId="120"/>
        <pc:sldMkLst>
          <pc:docMk/>
          <pc:sldMk cId="4005765948" sldId="304"/>
        </pc:sldMkLst>
        <pc:spChg chg="mod">
          <ac:chgData name="Oğuz Öztekin" userId="33c0df0f-d5fe-4bda-8f43-141ad7af67e3" providerId="ADAL" clId="{7671717B-C626-45BA-B33A-078C0D9E0397}" dt="2024-12-11T09:00:11.586" v="353"/>
          <ac:spMkLst>
            <pc:docMk/>
            <pc:sldMk cId="4005765948" sldId="304"/>
            <ac:spMk id="6" creationId="{0FA5A7B0-4EE0-8CB6-9851-AC434BF5B02D}"/>
          </ac:spMkLst>
        </pc:spChg>
        <pc:spChg chg="mod">
          <ac:chgData name="Oğuz Öztekin" userId="33c0df0f-d5fe-4bda-8f43-141ad7af67e3" providerId="ADAL" clId="{7671717B-C626-45BA-B33A-078C0D9E0397}" dt="2024-12-11T09:00:50.879" v="354"/>
          <ac:spMkLst>
            <pc:docMk/>
            <pc:sldMk cId="4005765948" sldId="304"/>
            <ac:spMk id="10" creationId="{8045BB41-B010-76F6-2C42-C33EF0B0D015}"/>
          </ac:spMkLst>
        </pc:spChg>
        <pc:spChg chg="mod">
          <ac:chgData name="Oğuz Öztekin" userId="33c0df0f-d5fe-4bda-8f43-141ad7af67e3" providerId="ADAL" clId="{7671717B-C626-45BA-B33A-078C0D9E0397}" dt="2024-12-13T09:59:47.614" v="1281" actId="120"/>
          <ac:spMkLst>
            <pc:docMk/>
            <pc:sldMk cId="4005765948" sldId="304"/>
            <ac:spMk id="11" creationId="{37A46043-0998-F30E-AB27-890B7F2169B5}"/>
          </ac:spMkLst>
        </pc:spChg>
        <pc:spChg chg="mod">
          <ac:chgData name="Oğuz Öztekin" userId="33c0df0f-d5fe-4bda-8f43-141ad7af67e3" providerId="ADAL" clId="{7671717B-C626-45BA-B33A-078C0D9E0397}" dt="2024-12-11T09:02:14.893" v="357" actId="1076"/>
          <ac:spMkLst>
            <pc:docMk/>
            <pc:sldMk cId="4005765948" sldId="304"/>
            <ac:spMk id="19" creationId="{3A6572B0-AEA3-4C5B-B83E-ECF82651DF4C}"/>
          </ac:spMkLst>
        </pc:spChg>
        <pc:picChg chg="add mod">
          <ac:chgData name="Oğuz Öztekin" userId="33c0df0f-d5fe-4bda-8f43-141ad7af67e3" providerId="ADAL" clId="{7671717B-C626-45BA-B33A-078C0D9E0397}" dt="2024-12-11T08:57:49.994" v="346" actId="1076"/>
          <ac:picMkLst>
            <pc:docMk/>
            <pc:sldMk cId="4005765948" sldId="304"/>
            <ac:picMk id="7" creationId="{0F8EA7DA-7373-C3DD-3391-603FE8D7BB07}"/>
          </ac:picMkLst>
        </pc:picChg>
        <pc:picChg chg="del">
          <ac:chgData name="Oğuz Öztekin" userId="33c0df0f-d5fe-4bda-8f43-141ad7af67e3" providerId="ADAL" clId="{7671717B-C626-45BA-B33A-078C0D9E0397}" dt="2024-12-11T08:58:09.073" v="349" actId="478"/>
          <ac:picMkLst>
            <pc:docMk/>
            <pc:sldMk cId="4005765948" sldId="304"/>
            <ac:picMk id="14" creationId="{F93B3516-0BA0-526E-764B-C2ED4301F986}"/>
          </ac:picMkLst>
        </pc:picChg>
        <pc:picChg chg="add mod">
          <ac:chgData name="Oğuz Öztekin" userId="33c0df0f-d5fe-4bda-8f43-141ad7af67e3" providerId="ADAL" clId="{7671717B-C626-45BA-B33A-078C0D9E0397}" dt="2024-12-11T08:58:20.338" v="352" actId="1076"/>
          <ac:picMkLst>
            <pc:docMk/>
            <pc:sldMk cId="4005765948" sldId="304"/>
            <ac:picMk id="17" creationId="{1459C520-CF57-6FF2-2749-DB216433114F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53.075" v="1282" actId="120"/>
        <pc:sldMkLst>
          <pc:docMk/>
          <pc:sldMk cId="317251413" sldId="305"/>
        </pc:sldMkLst>
        <pc:spChg chg="mod">
          <ac:chgData name="Oğuz Öztekin" userId="33c0df0f-d5fe-4bda-8f43-141ad7af67e3" providerId="ADAL" clId="{7671717B-C626-45BA-B33A-078C0D9E0397}" dt="2024-12-11T09:05:37.133" v="386"/>
          <ac:spMkLst>
            <pc:docMk/>
            <pc:sldMk cId="317251413" sldId="305"/>
            <ac:spMk id="6" creationId="{97363114-B4B3-7D3C-FA0A-38473465A6BE}"/>
          </ac:spMkLst>
        </pc:spChg>
        <pc:spChg chg="mod">
          <ac:chgData name="Oğuz Öztekin" userId="33c0df0f-d5fe-4bda-8f43-141ad7af67e3" providerId="ADAL" clId="{7671717B-C626-45BA-B33A-078C0D9E0397}" dt="2024-12-11T09:06:30.971" v="389" actId="20577"/>
          <ac:spMkLst>
            <pc:docMk/>
            <pc:sldMk cId="317251413" sldId="305"/>
            <ac:spMk id="10" creationId="{10D31B45-4EDE-19BE-0C61-F5F437895545}"/>
          </ac:spMkLst>
        </pc:spChg>
        <pc:spChg chg="mod">
          <ac:chgData name="Oğuz Öztekin" userId="33c0df0f-d5fe-4bda-8f43-141ad7af67e3" providerId="ADAL" clId="{7671717B-C626-45BA-B33A-078C0D9E0397}" dt="2024-12-13T09:59:53.075" v="1282" actId="120"/>
          <ac:spMkLst>
            <pc:docMk/>
            <pc:sldMk cId="317251413" sldId="305"/>
            <ac:spMk id="11" creationId="{35A11336-3E21-FCBD-D0C5-505DB8DF4D9D}"/>
          </ac:spMkLst>
        </pc:spChg>
        <pc:spChg chg="mod">
          <ac:chgData name="Oğuz Öztekin" userId="33c0df0f-d5fe-4bda-8f43-141ad7af67e3" providerId="ADAL" clId="{7671717B-C626-45BA-B33A-078C0D9E0397}" dt="2024-12-11T09:04:42.270" v="384" actId="20577"/>
          <ac:spMkLst>
            <pc:docMk/>
            <pc:sldMk cId="317251413" sldId="305"/>
            <ac:spMk id="19" creationId="{758E81DE-DB32-32FB-69A4-9FB3F533A8B4}"/>
          </ac:spMkLst>
        </pc:spChg>
        <pc:spChg chg="add">
          <ac:chgData name="Oğuz Öztekin" userId="33c0df0f-d5fe-4bda-8f43-141ad7af67e3" providerId="ADAL" clId="{7671717B-C626-45BA-B33A-078C0D9E0397}" dt="2024-12-11T09:06:16.678" v="387"/>
          <ac:spMkLst>
            <pc:docMk/>
            <pc:sldMk cId="317251413" sldId="305"/>
            <ac:spMk id="23" creationId="{1D9590FD-25E8-674A-9817-779E316E300A}"/>
          </ac:spMkLst>
        </pc:spChg>
        <pc:picChg chg="add mod">
          <ac:chgData name="Oğuz Öztekin" userId="33c0df0f-d5fe-4bda-8f43-141ad7af67e3" providerId="ADAL" clId="{7671717B-C626-45BA-B33A-078C0D9E0397}" dt="2024-12-11T09:03:11.598" v="360" actId="1076"/>
          <ac:picMkLst>
            <pc:docMk/>
            <pc:sldMk cId="317251413" sldId="305"/>
            <ac:picMk id="14" creationId="{03DC29C2-ECDA-2F18-C2D6-273AE3369E75}"/>
          </ac:picMkLst>
        </pc:picChg>
        <pc:picChg chg="del">
          <ac:chgData name="Oğuz Öztekin" userId="33c0df0f-d5fe-4bda-8f43-141ad7af67e3" providerId="ADAL" clId="{7671717B-C626-45BA-B33A-078C0D9E0397}" dt="2024-12-11T09:04:19.556" v="366" actId="478"/>
          <ac:picMkLst>
            <pc:docMk/>
            <pc:sldMk cId="317251413" sldId="305"/>
            <ac:picMk id="17" creationId="{1FA00771-C5CC-BB82-0196-6191787FCE1C}"/>
          </ac:picMkLst>
        </pc:picChg>
        <pc:picChg chg="add del mod">
          <ac:chgData name="Oğuz Öztekin" userId="33c0df0f-d5fe-4bda-8f43-141ad7af67e3" providerId="ADAL" clId="{7671717B-C626-45BA-B33A-078C0D9E0397}" dt="2024-12-11T09:03:58.181" v="362" actId="21"/>
          <ac:picMkLst>
            <pc:docMk/>
            <pc:sldMk cId="317251413" sldId="305"/>
            <ac:picMk id="20" creationId="{F7E923C3-781E-0965-E9DB-87D06AF6B1C0}"/>
          </ac:picMkLst>
        </pc:picChg>
        <pc:picChg chg="add mod">
          <ac:chgData name="Oğuz Öztekin" userId="33c0df0f-d5fe-4bda-8f43-141ad7af67e3" providerId="ADAL" clId="{7671717B-C626-45BA-B33A-078C0D9E0397}" dt="2024-12-11T09:04:28.177" v="368" actId="1076"/>
          <ac:picMkLst>
            <pc:docMk/>
            <pc:sldMk cId="317251413" sldId="305"/>
            <ac:picMk id="22" creationId="{D3204274-F8A6-76B0-62B4-3D6052957063}"/>
          </ac:picMkLst>
        </pc:picChg>
      </pc:sldChg>
      <pc:sldChg chg="addSp delSp modSp add del mod">
        <pc:chgData name="Oğuz Öztekin" userId="33c0df0f-d5fe-4bda-8f43-141ad7af67e3" providerId="ADAL" clId="{7671717B-C626-45BA-B33A-078C0D9E0397}" dt="2024-12-13T09:29:03.869" v="1182" actId="2696"/>
        <pc:sldMkLst>
          <pc:docMk/>
          <pc:sldMk cId="1441212069" sldId="306"/>
        </pc:sldMkLst>
        <pc:spChg chg="add del mod">
          <ac:chgData name="Oğuz Öztekin" userId="33c0df0f-d5fe-4bda-8f43-141ad7af67e3" providerId="ADAL" clId="{7671717B-C626-45BA-B33A-078C0D9E0397}" dt="2024-12-13T09:29:00.105" v="1181" actId="478"/>
          <ac:spMkLst>
            <pc:docMk/>
            <pc:sldMk cId="1441212069" sldId="306"/>
            <ac:spMk id="3" creationId="{EF1514C8-0A15-06B4-7D72-5C801DC0B0C4}"/>
          </ac:spMkLst>
        </pc:spChg>
        <pc:spChg chg="add mod">
          <ac:chgData name="Oğuz Öztekin" userId="33c0df0f-d5fe-4bda-8f43-141ad7af67e3" providerId="ADAL" clId="{7671717B-C626-45BA-B33A-078C0D9E0397}" dt="2024-12-12T10:21:16.949" v="653" actId="1076"/>
          <ac:spMkLst>
            <pc:docMk/>
            <pc:sldMk cId="1441212069" sldId="306"/>
            <ac:spMk id="4" creationId="{3B53BC3B-1492-3629-E7FE-6D94114BF9CF}"/>
          </ac:spMkLst>
        </pc:spChg>
        <pc:spChg chg="del">
          <ac:chgData name="Oğuz Öztekin" userId="33c0df0f-d5fe-4bda-8f43-141ad7af67e3" providerId="ADAL" clId="{7671717B-C626-45BA-B33A-078C0D9E0397}" dt="2024-12-12T10:21:00.652" v="651" actId="478"/>
          <ac:spMkLst>
            <pc:docMk/>
            <pc:sldMk cId="1441212069" sldId="306"/>
            <ac:spMk id="26" creationId="{BCCAFCA9-28FD-BD25-ABEA-0B9B07463E0B}"/>
          </ac:spMkLst>
        </pc:spChg>
        <pc:picChg chg="mod">
          <ac:chgData name="Oğuz Öztekin" userId="33c0df0f-d5fe-4bda-8f43-141ad7af67e3" providerId="ADAL" clId="{7671717B-C626-45BA-B33A-078C0D9E0397}" dt="2024-12-12T10:20:47.380" v="647" actId="1076"/>
          <ac:picMkLst>
            <pc:docMk/>
            <pc:sldMk cId="1441212069" sldId="306"/>
            <ac:picMk id="6" creationId="{A32C9BA4-A2D3-5A26-467F-0DCD4335208F}"/>
          </ac:picMkLst>
        </pc:picChg>
        <pc:picChg chg="del">
          <ac:chgData name="Oğuz Öztekin" userId="33c0df0f-d5fe-4bda-8f43-141ad7af67e3" providerId="ADAL" clId="{7671717B-C626-45BA-B33A-078C0D9E0397}" dt="2024-12-12T10:20:58.570" v="650" actId="478"/>
          <ac:picMkLst>
            <pc:docMk/>
            <pc:sldMk cId="1441212069" sldId="306"/>
            <ac:picMk id="16" creationId="{D3C6E229-1DA2-41BC-9DF8-5CAB53AA6800}"/>
          </ac:picMkLst>
        </pc:picChg>
        <pc:picChg chg="add del">
          <ac:chgData name="Oğuz Öztekin" userId="33c0df0f-d5fe-4bda-8f43-141ad7af67e3" providerId="ADAL" clId="{7671717B-C626-45BA-B33A-078C0D9E0397}" dt="2024-12-12T10:20:52.866" v="649" actId="478"/>
          <ac:picMkLst>
            <pc:docMk/>
            <pc:sldMk cId="1441212069" sldId="306"/>
            <ac:picMk id="21" creationId="{2F82F586-F973-F0A1-B1A5-A2C9C80835FE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10:09:42.166" v="1382" actId="20577"/>
        <pc:sldMkLst>
          <pc:docMk/>
          <pc:sldMk cId="1748462351" sldId="307"/>
        </pc:sldMkLst>
        <pc:spChg chg="add mod">
          <ac:chgData name="Oğuz Öztekin" userId="33c0df0f-d5fe-4bda-8f43-141ad7af67e3" providerId="ADAL" clId="{7671717B-C626-45BA-B33A-078C0D9E0397}" dt="2024-12-12T11:23:08.949" v="799" actId="1076"/>
          <ac:spMkLst>
            <pc:docMk/>
            <pc:sldMk cId="1748462351" sldId="307"/>
            <ac:spMk id="4" creationId="{62359619-6B3B-1987-CBFF-77083AF9C140}"/>
          </ac:spMkLst>
        </pc:spChg>
        <pc:spChg chg="del">
          <ac:chgData name="Oğuz Öztekin" userId="33c0df0f-d5fe-4bda-8f43-141ad7af67e3" providerId="ADAL" clId="{7671717B-C626-45BA-B33A-078C0D9E0397}" dt="2024-12-12T10:49:11.913" v="729" actId="478"/>
          <ac:spMkLst>
            <pc:docMk/>
            <pc:sldMk cId="1748462351" sldId="307"/>
            <ac:spMk id="5" creationId="{B6021B66-6C22-7F7C-CF06-62917F23946E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6" creationId="{1F85CCD9-08AD-30A1-2782-134A18FC88F9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7" creationId="{933A1819-6670-8C0C-6B3A-46BBF8340619}"/>
          </ac:spMkLst>
        </pc:spChg>
        <pc:spChg chg="add mod">
          <ac:chgData name="Oğuz Öztekin" userId="33c0df0f-d5fe-4bda-8f43-141ad7af67e3" providerId="ADAL" clId="{7671717B-C626-45BA-B33A-078C0D9E0397}" dt="2024-12-13T10:09:42.166" v="1382" actId="20577"/>
          <ac:spMkLst>
            <pc:docMk/>
            <pc:sldMk cId="1748462351" sldId="307"/>
            <ac:spMk id="8" creationId="{BD73D3CA-1A04-09CA-0894-FB03AD0B3971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0" creationId="{E85F482C-38EB-3883-DBEF-F4A2A53EFBA7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1" creationId="{E979A89B-0A3D-93FB-1F9C-547C2F2D5189}"/>
          </ac:spMkLst>
        </pc:spChg>
        <pc:spChg chg="del mod">
          <ac:chgData name="Oğuz Öztekin" userId="33c0df0f-d5fe-4bda-8f43-141ad7af67e3" providerId="ADAL" clId="{7671717B-C626-45BA-B33A-078C0D9E0397}" dt="2024-12-13T09:27:44.185" v="1180" actId="478"/>
          <ac:spMkLst>
            <pc:docMk/>
            <pc:sldMk cId="1748462351" sldId="307"/>
            <ac:spMk id="12" creationId="{34E214AB-EDD0-2CEF-1701-A40E048EFEA9}"/>
          </ac:spMkLst>
        </pc:spChg>
        <pc:spChg chg="mod">
          <ac:chgData name="Oğuz Öztekin" userId="33c0df0f-d5fe-4bda-8f43-141ad7af67e3" providerId="ADAL" clId="{7671717B-C626-45BA-B33A-078C0D9E0397}" dt="2024-12-12T11:23:08.949" v="799" actId="1076"/>
          <ac:spMkLst>
            <pc:docMk/>
            <pc:sldMk cId="1748462351" sldId="307"/>
            <ac:spMk id="19" creationId="{A26C8768-0802-8345-B915-F129944F237F}"/>
          </ac:spMkLst>
        </pc:spChg>
        <pc:spChg chg="add mod">
          <ac:chgData name="Oğuz Öztekin" userId="33c0df0f-d5fe-4bda-8f43-141ad7af67e3" providerId="ADAL" clId="{7671717B-C626-45BA-B33A-078C0D9E0397}" dt="2024-12-13T10:08:25.457" v="1301" actId="1076"/>
          <ac:spMkLst>
            <pc:docMk/>
            <pc:sldMk cId="1748462351" sldId="307"/>
            <ac:spMk id="33" creationId="{12E8F235-7E19-FC86-022D-01ED5CB4838F}"/>
          </ac:spMkLst>
        </pc:spChg>
        <pc:graphicFrameChg chg="add mod modGraphic">
          <ac:chgData name="Oğuz Öztekin" userId="33c0df0f-d5fe-4bda-8f43-141ad7af67e3" providerId="ADAL" clId="{7671717B-C626-45BA-B33A-078C0D9E0397}" dt="2024-12-13T10:09:31.828" v="1377" actId="20577"/>
          <ac:graphicFrameMkLst>
            <pc:docMk/>
            <pc:sldMk cId="1748462351" sldId="307"/>
            <ac:graphicFrameMk id="17" creationId="{F54AD37F-7410-579D-CC16-50289C54B8C5}"/>
          </ac:graphicFrameMkLst>
        </pc:graphicFrameChg>
        <pc:graphicFrameChg chg="add mod">
          <ac:chgData name="Oğuz Öztekin" userId="33c0df0f-d5fe-4bda-8f43-141ad7af67e3" providerId="ADAL" clId="{7671717B-C626-45BA-B33A-078C0D9E0397}" dt="2024-12-12T11:46:47.024" v="1126" actId="14100"/>
          <ac:graphicFrameMkLst>
            <pc:docMk/>
            <pc:sldMk cId="1748462351" sldId="307"/>
            <ac:graphicFrameMk id="41" creationId="{8DFF7C6B-F1F4-7123-F2C1-0A046DC44989}"/>
          </ac:graphicFrameMkLst>
        </pc:graphicFrame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9" creationId="{9A5A9875-8DE1-61BA-7C25-5B38D3D78DF7}"/>
          </ac:picMkLst>
        </pc:picChg>
        <pc:picChg chg="add mod">
          <ac:chgData name="Oğuz Öztekin" userId="33c0df0f-d5fe-4bda-8f43-141ad7af67e3" providerId="ADAL" clId="{7671717B-C626-45BA-B33A-078C0D9E0397}" dt="2024-12-12T11:23:08.949" v="799" actId="1076"/>
          <ac:picMkLst>
            <pc:docMk/>
            <pc:sldMk cId="1748462351" sldId="307"/>
            <ac:picMk id="13" creationId="{90C53157-345E-2384-065E-7BB163B3FB61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4" creationId="{6112D213-1467-A1FE-B736-33C02BE7F6F8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15" creationId="{F6BAB372-3E14-CF3C-6CFB-023D68A1D304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6" creationId="{70EE0CDC-94E9-6CBC-E4B2-7FF0CC565453}"/>
          </ac:picMkLst>
        </pc:picChg>
        <pc:picChg chg="mod">
          <ac:chgData name="Oğuz Öztekin" userId="33c0df0f-d5fe-4bda-8f43-141ad7af67e3" providerId="ADAL" clId="{7671717B-C626-45BA-B33A-078C0D9E0397}" dt="2024-12-12T11:39:26.858" v="1119" actId="1076"/>
          <ac:picMkLst>
            <pc:docMk/>
            <pc:sldMk cId="1748462351" sldId="307"/>
            <ac:picMk id="18" creationId="{29B8FE9A-C5D8-D792-3D3F-12CC24313AF5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0" creationId="{A913A2B2-5E7F-3E7E-F984-D46EEF051BDA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1" creationId="{1DD6DE78-AA9F-019A-FB68-B95C61F8484F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2" creationId="{DF6F7D4B-983C-B5BE-0E9D-54DE37D24963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4" creationId="{A0B2B44E-3265-A58A-8A8B-96DA7F587114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5" creationId="{1394FD88-A7B8-2F01-4B54-53C8DA108FF7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6" creationId="{297E7691-0EA3-E4F5-E466-3FC53D158F71}"/>
          </ac:picMkLst>
        </pc:picChg>
        <pc:picChg chg="add mod">
          <ac:chgData name="Oğuz Öztekin" userId="33c0df0f-d5fe-4bda-8f43-141ad7af67e3" providerId="ADAL" clId="{7671717B-C626-45BA-B33A-078C0D9E0397}" dt="2024-12-13T09:45:04.204" v="1238" actId="1076"/>
          <ac:picMkLst>
            <pc:docMk/>
            <pc:sldMk cId="1748462351" sldId="307"/>
            <ac:picMk id="27" creationId="{AC30774A-8C75-4740-72D0-C25AEFDF9CED}"/>
          </ac:picMkLst>
        </pc:picChg>
        <pc:picChg chg="del">
          <ac:chgData name="Oğuz Öztekin" userId="33c0df0f-d5fe-4bda-8f43-141ad7af67e3" providerId="ADAL" clId="{7671717B-C626-45BA-B33A-078C0D9E0397}" dt="2024-12-12T10:49:31.625" v="730" actId="478"/>
          <ac:picMkLst>
            <pc:docMk/>
            <pc:sldMk cId="1748462351" sldId="307"/>
            <ac:picMk id="28" creationId="{7402307B-B59E-5010-8C5C-DA841C44B8C2}"/>
          </ac:picMkLst>
        </pc:picChg>
        <pc:picChg chg="add mod">
          <ac:chgData name="Oğuz Öztekin" userId="33c0df0f-d5fe-4bda-8f43-141ad7af67e3" providerId="ADAL" clId="{7671717B-C626-45BA-B33A-078C0D9E0397}" dt="2024-12-12T11:32:36.840" v="1036" actId="1076"/>
          <ac:picMkLst>
            <pc:docMk/>
            <pc:sldMk cId="1748462351" sldId="307"/>
            <ac:picMk id="30" creationId="{1CDD5B8C-DC23-968C-D034-B793EA9400E0}"/>
          </ac:picMkLst>
        </pc:picChg>
        <pc:picChg chg="add mod">
          <ac:chgData name="Oğuz Öztekin" userId="33c0df0f-d5fe-4bda-8f43-141ad7af67e3" providerId="ADAL" clId="{7671717B-C626-45BA-B33A-078C0D9E0397}" dt="2024-12-13T09:45:34.036" v="1244" actId="1076"/>
          <ac:picMkLst>
            <pc:docMk/>
            <pc:sldMk cId="1748462351" sldId="307"/>
            <ac:picMk id="32" creationId="{B192E07D-202F-7197-B30A-96384BA50A70}"/>
          </ac:picMkLst>
        </pc:picChg>
        <pc:picChg chg="add mod">
          <ac:chgData name="Oğuz Öztekin" userId="33c0df0f-d5fe-4bda-8f43-141ad7af67e3" providerId="ADAL" clId="{7671717B-C626-45BA-B33A-078C0D9E0397}" dt="2024-12-13T09:46:14.111" v="1250" actId="1076"/>
          <ac:picMkLst>
            <pc:docMk/>
            <pc:sldMk cId="1748462351" sldId="307"/>
            <ac:picMk id="35" creationId="{3121A895-D35A-85D9-305E-20DA48EEB996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6" creationId="{35E2AD43-4D06-23B8-061D-2154968E7B1B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7" creationId="{B75D2EFC-B501-C368-2D27-3AB600008FE5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8" creationId="{CDD41322-3125-8D5B-7F18-C1115942FB3D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39" creationId="{3A826874-8E92-64D5-3CBE-37443099F8CF}"/>
          </ac:picMkLst>
        </pc:picChg>
        <pc:picChg chg="add mod">
          <ac:chgData name="Oğuz Öztekin" userId="33c0df0f-d5fe-4bda-8f43-141ad7af67e3" providerId="ADAL" clId="{7671717B-C626-45BA-B33A-078C0D9E0397}" dt="2024-12-13T09:24:57.627" v="1165" actId="1076"/>
          <ac:picMkLst>
            <pc:docMk/>
            <pc:sldMk cId="1748462351" sldId="307"/>
            <ac:picMk id="40" creationId="{3A074C9C-28A6-E020-7ABB-FF88E7DC7579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09:59:37.171" v="1279" actId="120"/>
        <pc:sldMkLst>
          <pc:docMk/>
          <pc:sldMk cId="1747725061" sldId="308"/>
        </pc:sldMkLst>
        <pc:spChg chg="mod">
          <ac:chgData name="Oğuz Öztekin" userId="33c0df0f-d5fe-4bda-8f43-141ad7af67e3" providerId="ADAL" clId="{7671717B-C626-45BA-B33A-078C0D9E0397}" dt="2024-12-13T09:37:30.011" v="1196"/>
          <ac:spMkLst>
            <pc:docMk/>
            <pc:sldMk cId="1747725061" sldId="308"/>
            <ac:spMk id="6" creationId="{A6299AE3-C4A4-BB44-72E6-AFE249253FE0}"/>
          </ac:spMkLst>
        </pc:spChg>
        <pc:spChg chg="add del">
          <ac:chgData name="Oğuz Öztekin" userId="33c0df0f-d5fe-4bda-8f43-141ad7af67e3" providerId="ADAL" clId="{7671717B-C626-45BA-B33A-078C0D9E0397}" dt="2024-12-13T09:39:36.291" v="1235" actId="478"/>
          <ac:spMkLst>
            <pc:docMk/>
            <pc:sldMk cId="1747725061" sldId="308"/>
            <ac:spMk id="7" creationId="{A5DA60A9-EB24-3043-08CE-0292EADB8C12}"/>
          </ac:spMkLst>
        </pc:spChg>
        <pc:spChg chg="mod">
          <ac:chgData name="Oğuz Öztekin" userId="33c0df0f-d5fe-4bda-8f43-141ad7af67e3" providerId="ADAL" clId="{7671717B-C626-45BA-B33A-078C0D9E0397}" dt="2024-12-13T09:38:08.421" v="1200" actId="20577"/>
          <ac:spMkLst>
            <pc:docMk/>
            <pc:sldMk cId="1747725061" sldId="308"/>
            <ac:spMk id="10" creationId="{6421C027-2F70-E607-8564-59E45FCD045C}"/>
          </ac:spMkLst>
        </pc:spChg>
        <pc:spChg chg="mod">
          <ac:chgData name="Oğuz Öztekin" userId="33c0df0f-d5fe-4bda-8f43-141ad7af67e3" providerId="ADAL" clId="{7671717B-C626-45BA-B33A-078C0D9E0397}" dt="2024-12-13T09:59:37.171" v="1279" actId="120"/>
          <ac:spMkLst>
            <pc:docMk/>
            <pc:sldMk cId="1747725061" sldId="308"/>
            <ac:spMk id="11" creationId="{B127E0A3-D90F-1CCF-A27A-B1266B802F3B}"/>
          </ac:spMkLst>
        </pc:spChg>
        <pc:spChg chg="add del mod">
          <ac:chgData name="Oğuz Öztekin" userId="33c0df0f-d5fe-4bda-8f43-141ad7af67e3" providerId="ADAL" clId="{7671717B-C626-45BA-B33A-078C0D9E0397}" dt="2024-12-13T09:39:33.271" v="1234" actId="478"/>
          <ac:spMkLst>
            <pc:docMk/>
            <pc:sldMk cId="1747725061" sldId="308"/>
            <ac:spMk id="14" creationId="{107F0153-4B3A-27CB-A6D5-91DE5296C08B}"/>
          </ac:spMkLst>
        </pc:spChg>
        <pc:spChg chg="mod">
          <ac:chgData name="Oğuz Öztekin" userId="33c0df0f-d5fe-4bda-8f43-141ad7af67e3" providerId="ADAL" clId="{7671717B-C626-45BA-B33A-078C0D9E0397}" dt="2024-12-13T09:39:27.048" v="1233" actId="20577"/>
          <ac:spMkLst>
            <pc:docMk/>
            <pc:sldMk cId="1747725061" sldId="308"/>
            <ac:spMk id="19" creationId="{08574BC3-1104-049B-01E5-8FC26CA72D60}"/>
          </ac:spMkLst>
        </pc:spChg>
        <pc:picChg chg="add mod">
          <ac:chgData name="Oğuz Öztekin" userId="33c0df0f-d5fe-4bda-8f43-141ad7af67e3" providerId="ADAL" clId="{7671717B-C626-45BA-B33A-078C0D9E0397}" dt="2024-12-13T09:31:09.615" v="1191" actId="1076"/>
          <ac:picMkLst>
            <pc:docMk/>
            <pc:sldMk cId="1747725061" sldId="308"/>
            <ac:picMk id="4" creationId="{5DA413CE-9B6E-465E-7A91-004D2B6202AA}"/>
          </ac:picMkLst>
        </pc:picChg>
        <pc:picChg chg="del">
          <ac:chgData name="Oğuz Öztekin" userId="33c0df0f-d5fe-4bda-8f43-141ad7af67e3" providerId="ADAL" clId="{7671717B-C626-45BA-B33A-078C0D9E0397}" dt="2024-12-13T09:31:03.522" v="1190" actId="478"/>
          <ac:picMkLst>
            <pc:docMk/>
            <pc:sldMk cId="1747725061" sldId="308"/>
            <ac:picMk id="20" creationId="{ADAEC535-C5F4-D11D-6764-4B7653507B3B}"/>
          </ac:picMkLst>
        </pc:picChg>
      </pc:sldChg>
      <pc:sldChg chg="new del">
        <pc:chgData name="Oğuz Öztekin" userId="33c0df0f-d5fe-4bda-8f43-141ad7af67e3" providerId="ADAL" clId="{7671717B-C626-45BA-B33A-078C0D9E0397}" dt="2024-12-12T11:18:35.248" v="792" actId="680"/>
        <pc:sldMkLst>
          <pc:docMk/>
          <pc:sldMk cId="3453439075" sldId="308"/>
        </pc:sldMkLst>
      </pc:sldChg>
      <pc:sldChg chg="addSp delSp modSp add mod">
        <pc:chgData name="Oğuz Öztekin" userId="33c0df0f-d5fe-4bda-8f43-141ad7af67e3" providerId="ADAL" clId="{7671717B-C626-45BA-B33A-078C0D9E0397}" dt="2024-12-13T09:59:59.345" v="1283" actId="120"/>
        <pc:sldMkLst>
          <pc:docMk/>
          <pc:sldMk cId="1902639763" sldId="309"/>
        </pc:sldMkLst>
        <pc:spChg chg="add del mod">
          <ac:chgData name="Oğuz Öztekin" userId="33c0df0f-d5fe-4bda-8f43-141ad7af67e3" providerId="ADAL" clId="{7671717B-C626-45BA-B33A-078C0D9E0397}" dt="2024-12-13T09:55:44.090" v="1266"/>
          <ac:spMkLst>
            <pc:docMk/>
            <pc:sldMk cId="1902639763" sldId="309"/>
            <ac:spMk id="6" creationId="{42F9CA57-9AC9-485D-8E35-AC92F9F2CDF4}"/>
          </ac:spMkLst>
        </pc:spChg>
        <pc:spChg chg="mod">
          <ac:chgData name="Oğuz Öztekin" userId="33c0df0f-d5fe-4bda-8f43-141ad7af67e3" providerId="ADAL" clId="{7671717B-C626-45BA-B33A-078C0D9E0397}" dt="2024-12-13T09:58:13.441" v="1272" actId="20577"/>
          <ac:spMkLst>
            <pc:docMk/>
            <pc:sldMk cId="1902639763" sldId="309"/>
            <ac:spMk id="10" creationId="{FAF7F267-6905-9C9B-EBF8-3709C9D9E30A}"/>
          </ac:spMkLst>
        </pc:spChg>
        <pc:spChg chg="mod">
          <ac:chgData name="Oğuz Öztekin" userId="33c0df0f-d5fe-4bda-8f43-141ad7af67e3" providerId="ADAL" clId="{7671717B-C626-45BA-B33A-078C0D9E0397}" dt="2024-12-13T09:59:59.345" v="1283" actId="120"/>
          <ac:spMkLst>
            <pc:docMk/>
            <pc:sldMk cId="1902639763" sldId="309"/>
            <ac:spMk id="11" creationId="{522605B3-EB7B-2511-CF19-59091C8A175A}"/>
          </ac:spMkLst>
        </pc:spChg>
        <pc:spChg chg="mod">
          <ac:chgData name="Oğuz Öztekin" userId="33c0df0f-d5fe-4bda-8f43-141ad7af67e3" providerId="ADAL" clId="{7671717B-C626-45BA-B33A-078C0D9E0397}" dt="2024-12-13T09:58:39.291" v="1274" actId="20577"/>
          <ac:spMkLst>
            <pc:docMk/>
            <pc:sldMk cId="1902639763" sldId="309"/>
            <ac:spMk id="19" creationId="{712A0505-DDE7-ACA3-3C15-38E3BC93F55F}"/>
          </ac:spMkLst>
        </pc:spChg>
        <pc:spChg chg="add del">
          <ac:chgData name="Oğuz Öztekin" userId="33c0df0f-d5fe-4bda-8f43-141ad7af67e3" providerId="ADAL" clId="{7671717B-C626-45BA-B33A-078C0D9E0397}" dt="2024-12-13T09:55:31.101" v="1264" actId="478"/>
          <ac:spMkLst>
            <pc:docMk/>
            <pc:sldMk cId="1902639763" sldId="309"/>
            <ac:spMk id="21" creationId="{150F8769-E1A1-EE0F-2655-12EBD4EE01D0}"/>
          </ac:spMkLst>
        </pc:spChg>
        <pc:spChg chg="add">
          <ac:chgData name="Oğuz Öztekin" userId="33c0df0f-d5fe-4bda-8f43-141ad7af67e3" providerId="ADAL" clId="{7671717B-C626-45BA-B33A-078C0D9E0397}" dt="2024-12-13T09:55:33.815" v="1265"/>
          <ac:spMkLst>
            <pc:docMk/>
            <pc:sldMk cId="1902639763" sldId="309"/>
            <ac:spMk id="23" creationId="{717F5F8B-D476-7D38-0A83-E896921E5033}"/>
          </ac:spMkLst>
        </pc:spChg>
        <pc:picChg chg="add mod">
          <ac:chgData name="Oğuz Öztekin" userId="33c0df0f-d5fe-4bda-8f43-141ad7af67e3" providerId="ADAL" clId="{7671717B-C626-45BA-B33A-078C0D9E0397}" dt="2024-12-13T09:53:57.692" v="1254" actId="1076"/>
          <ac:picMkLst>
            <pc:docMk/>
            <pc:sldMk cId="1902639763" sldId="309"/>
            <ac:picMk id="15" creationId="{70128AB4-BD33-D1A4-063E-619DC7D65897}"/>
          </ac:picMkLst>
        </pc:picChg>
        <pc:picChg chg="add mod">
          <ac:chgData name="Oğuz Öztekin" userId="33c0df0f-d5fe-4bda-8f43-141ad7af67e3" providerId="ADAL" clId="{7671717B-C626-45BA-B33A-078C0D9E0397}" dt="2024-12-13T09:54:52.310" v="1259" actId="1076"/>
          <ac:picMkLst>
            <pc:docMk/>
            <pc:sldMk cId="1902639763" sldId="309"/>
            <ac:picMk id="20" creationId="{C251216A-E148-9A24-A91C-13437A1E3F46}"/>
          </ac:picMkLst>
        </pc:picChg>
        <pc:picChg chg="del">
          <ac:chgData name="Oğuz Öztekin" userId="33c0df0f-d5fe-4bda-8f43-141ad7af67e3" providerId="ADAL" clId="{7671717B-C626-45BA-B33A-078C0D9E0397}" dt="2024-12-13T09:54:54.512" v="1260" actId="478"/>
          <ac:picMkLst>
            <pc:docMk/>
            <pc:sldMk cId="1902639763" sldId="309"/>
            <ac:picMk id="22" creationId="{9D39AD0A-ECB6-EF7A-2A76-812481A33726}"/>
          </ac:picMkLst>
        </pc:picChg>
      </pc:sldChg>
      <pc:sldChg chg="addSp delSp modSp add mod">
        <pc:chgData name="Oğuz Öztekin" userId="33c0df0f-d5fe-4bda-8f43-141ad7af67e3" providerId="ADAL" clId="{7671717B-C626-45BA-B33A-078C0D9E0397}" dt="2024-12-13T10:12:40.936" v="1424" actId="1076"/>
        <pc:sldMkLst>
          <pc:docMk/>
          <pc:sldMk cId="3251755664" sldId="310"/>
        </pc:sldMkLst>
        <pc:spChg chg="mod">
          <ac:chgData name="Oğuz Öztekin" userId="33c0df0f-d5fe-4bda-8f43-141ad7af67e3" providerId="ADAL" clId="{7671717B-C626-45BA-B33A-078C0D9E0397}" dt="2024-12-13T10:07:28.176" v="1298"/>
          <ac:spMkLst>
            <pc:docMk/>
            <pc:sldMk cId="3251755664" sldId="310"/>
            <ac:spMk id="6" creationId="{5FCC7BD8-90E8-4472-6277-4C2E226C8102}"/>
          </ac:spMkLst>
        </pc:spChg>
        <pc:spChg chg="mod">
          <ac:chgData name="Oğuz Öztekin" userId="33c0df0f-d5fe-4bda-8f43-141ad7af67e3" providerId="ADAL" clId="{7671717B-C626-45BA-B33A-078C0D9E0397}" dt="2024-12-13T10:07:52.246" v="1300"/>
          <ac:spMkLst>
            <pc:docMk/>
            <pc:sldMk cId="3251755664" sldId="310"/>
            <ac:spMk id="10" creationId="{91EEC987-7B96-20DD-DAF0-995BE014610F}"/>
          </ac:spMkLst>
        </pc:spChg>
        <pc:spChg chg="mod">
          <ac:chgData name="Oğuz Öztekin" userId="33c0df0f-d5fe-4bda-8f43-141ad7af67e3" providerId="ADAL" clId="{7671717B-C626-45BA-B33A-078C0D9E0397}" dt="2024-12-13T10:10:35.527" v="1386"/>
          <ac:spMkLst>
            <pc:docMk/>
            <pc:sldMk cId="3251755664" sldId="310"/>
            <ac:spMk id="11" creationId="{A891A715-84AD-8964-FE61-96F0E4349B3F}"/>
          </ac:spMkLst>
        </pc:spChg>
        <pc:spChg chg="mod">
          <ac:chgData name="Oğuz Öztekin" userId="33c0df0f-d5fe-4bda-8f43-141ad7af67e3" providerId="ADAL" clId="{7671717B-C626-45BA-B33A-078C0D9E0397}" dt="2024-12-13T10:00:48.734" v="1289" actId="20577"/>
          <ac:spMkLst>
            <pc:docMk/>
            <pc:sldMk cId="3251755664" sldId="310"/>
            <ac:spMk id="19" creationId="{2B1F84A3-7076-A998-F179-721E85CF295C}"/>
          </ac:spMkLst>
        </pc:spChg>
        <pc:spChg chg="add">
          <ac:chgData name="Oğuz Öztekin" userId="33c0df0f-d5fe-4bda-8f43-141ad7af67e3" providerId="ADAL" clId="{7671717B-C626-45BA-B33A-078C0D9E0397}" dt="2024-12-13T10:07:45.557" v="1299"/>
          <ac:spMkLst>
            <pc:docMk/>
            <pc:sldMk cId="3251755664" sldId="310"/>
            <ac:spMk id="22" creationId="{1D56C7B5-BF33-1C9F-F27A-98D4FA69958F}"/>
          </ac:spMkLst>
        </pc:spChg>
        <pc:spChg chg="add mod">
          <ac:chgData name="Oğuz Öztekin" userId="33c0df0f-d5fe-4bda-8f43-141ad7af67e3" providerId="ADAL" clId="{7671717B-C626-45BA-B33A-078C0D9E0397}" dt="2024-12-13T10:12:40.936" v="1424" actId="1076"/>
          <ac:spMkLst>
            <pc:docMk/>
            <pc:sldMk cId="3251755664" sldId="310"/>
            <ac:spMk id="23" creationId="{4EA7485F-F05C-9052-5585-AC0A62985D56}"/>
          </ac:spMkLst>
        </pc:spChg>
        <pc:picChg chg="add mod">
          <ac:chgData name="Oğuz Öztekin" userId="33c0df0f-d5fe-4bda-8f43-141ad7af67e3" providerId="ADAL" clId="{7671717B-C626-45BA-B33A-078C0D9E0397}" dt="2024-12-13T10:05:57.694" v="1295" actId="1076"/>
          <ac:picMkLst>
            <pc:docMk/>
            <pc:sldMk cId="3251755664" sldId="310"/>
            <ac:picMk id="3" creationId="{736FF474-5BF4-BD84-AA38-D2C594154844}"/>
          </ac:picMkLst>
        </pc:picChg>
        <pc:picChg chg="del">
          <ac:chgData name="Oğuz Öztekin" userId="33c0df0f-d5fe-4bda-8f43-141ad7af67e3" providerId="ADAL" clId="{7671717B-C626-45BA-B33A-078C0D9E0397}" dt="2024-12-13T10:05:53.873" v="1294" actId="478"/>
          <ac:picMkLst>
            <pc:docMk/>
            <pc:sldMk cId="3251755664" sldId="310"/>
            <ac:picMk id="20" creationId="{549DBFF8-639D-44A0-8AFC-B4DFBC076F82}"/>
          </ac:picMkLst>
        </pc:picChg>
        <pc:picChg chg="add mod">
          <ac:chgData name="Oğuz Öztekin" userId="33c0df0f-d5fe-4bda-8f43-141ad7af67e3" providerId="ADAL" clId="{7671717B-C626-45BA-B33A-078C0D9E0397}" dt="2024-12-13T10:07:05.065" v="1297" actId="1076"/>
          <ac:picMkLst>
            <pc:docMk/>
            <pc:sldMk cId="3251755664" sldId="310"/>
            <ac:picMk id="21" creationId="{3FECAC49-8750-EF58-B9E1-CDB57F3242A7}"/>
          </ac:picMkLst>
        </pc:picChg>
      </pc:sldChg>
    </pc:docChg>
  </pc:docChgLst>
  <pc:docChgLst>
    <pc:chgData name="Oğuz Öztekin" userId="S::oguz.oztekin@fintegral.com.tr::33c0df0f-d5fe-4bda-8f43-141ad7af67e3" providerId="AD" clId="Web-{1B90220F-A66B-1038-7D52-F74812BA8E8B}"/>
    <pc:docChg chg="modSld">
      <pc:chgData name="Oğuz Öztekin" userId="S::oguz.oztekin@fintegral.com.tr::33c0df0f-d5fe-4bda-8f43-141ad7af67e3" providerId="AD" clId="Web-{1B90220F-A66B-1038-7D52-F74812BA8E8B}" dt="2024-12-04T12:39:06.232" v="43"/>
      <pc:docMkLst>
        <pc:docMk/>
      </pc:docMkLst>
      <pc:sldChg chg="addSp">
        <pc:chgData name="Oğuz Öztekin" userId="S::oguz.oztekin@fintegral.com.tr::33c0df0f-d5fe-4bda-8f43-141ad7af67e3" providerId="AD" clId="Web-{1B90220F-A66B-1038-7D52-F74812BA8E8B}" dt="2024-12-04T12:39:03.216" v="40"/>
        <pc:sldMkLst>
          <pc:docMk/>
          <pc:sldMk cId="1507332737" sldId="264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3.904" v="41"/>
        <pc:sldMkLst>
          <pc:docMk/>
          <pc:sldMk cId="3866243125" sldId="265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4.841" v="42"/>
        <pc:sldMkLst>
          <pc:docMk/>
          <pc:sldMk cId="173792906" sldId="282"/>
        </pc:sldMkLst>
      </pc:sldChg>
      <pc:sldChg chg="addSp">
        <pc:chgData name="Oğuz Öztekin" userId="S::oguz.oztekin@fintegral.com.tr::33c0df0f-d5fe-4bda-8f43-141ad7af67e3" providerId="AD" clId="Web-{1B90220F-A66B-1038-7D52-F74812BA8E8B}" dt="2024-12-04T12:39:06.232" v="43"/>
        <pc:sldMkLst>
          <pc:docMk/>
          <pc:sldMk cId="2458421258" sldId="283"/>
        </pc:sldMkLst>
      </pc:sldChg>
      <pc:sldChg chg="addSp modSp">
        <pc:chgData name="Oğuz Öztekin" userId="S::oguz.oztekin@fintegral.com.tr::33c0df0f-d5fe-4bda-8f43-141ad7af67e3" providerId="AD" clId="Web-{1B90220F-A66B-1038-7D52-F74812BA8E8B}" dt="2024-12-04T12:38:56.888" v="39" actId="20577"/>
        <pc:sldMkLst>
          <pc:docMk/>
          <pc:sldMk cId="3193571855" sldId="290"/>
        </pc:sldMkLst>
      </pc:sldChg>
    </pc:docChg>
  </pc:docChgLst>
  <pc:docChgLst>
    <pc:chgData name="Batuhan Yelseli" userId="S::batuhan.yelseli@fintegral.com.tr::e1126a1f-d490-470b-80e9-57d2ed9dcaf7" providerId="AD" clId="Web-{5B832214-4DFE-9D95-D9FE-08F31E7EEED1}"/>
    <pc:docChg chg="modSld">
      <pc:chgData name="Batuhan Yelseli" userId="S::batuhan.yelseli@fintegral.com.tr::e1126a1f-d490-470b-80e9-57d2ed9dcaf7" providerId="AD" clId="Web-{5B832214-4DFE-9D95-D9FE-08F31E7EEED1}" dt="2024-12-06T12:42:23.445" v="270"/>
      <pc:docMkLst>
        <pc:docMk/>
      </pc:docMkLst>
      <pc:sldChg chg="addSp modSp">
        <pc:chgData name="Batuhan Yelseli" userId="S::batuhan.yelseli@fintegral.com.tr::e1126a1f-d490-470b-80e9-57d2ed9dcaf7" providerId="AD" clId="Web-{5B832214-4DFE-9D95-D9FE-08F31E7EEED1}" dt="2024-12-06T12:42:23.445" v="270"/>
        <pc:sldMkLst>
          <pc:docMk/>
          <pc:sldMk cId="3259337092" sldId="273"/>
        </pc:sldMkLst>
        <pc:graphicFrameChg chg="add mod modGraphic">
          <ac:chgData name="Batuhan Yelseli" userId="S::batuhan.yelseli@fintegral.com.tr::e1126a1f-d490-470b-80e9-57d2ed9dcaf7" providerId="AD" clId="Web-{5B832214-4DFE-9D95-D9FE-08F31E7EEED1}" dt="2024-12-06T12:42:23.445" v="270"/>
          <ac:graphicFrameMkLst>
            <pc:docMk/>
            <pc:sldMk cId="3259337092" sldId="273"/>
            <ac:graphicFrameMk id="3" creationId="{B3047D55-66B9-32C6-D401-827FEF4B8A06}"/>
          </ac:graphicFrameMkLst>
        </pc:graphicFrameChg>
      </pc:sldChg>
    </pc:docChg>
  </pc:docChgLst>
  <pc:docChgLst>
    <pc:chgData name="Batuhan Yelseli" userId="S::batuhan.yelseli@fintegral.com.tr::e1126a1f-d490-470b-80e9-57d2ed9dcaf7" providerId="AD" clId="Web-{BE8A6BB6-3078-C9F1-ACBB-5A755F9368BB}"/>
    <pc:docChg chg="delSld modSld">
      <pc:chgData name="Batuhan Yelseli" userId="S::batuhan.yelseli@fintegral.com.tr::e1126a1f-d490-470b-80e9-57d2ed9dcaf7" providerId="AD" clId="Web-{BE8A6BB6-3078-C9F1-ACBB-5A755F9368BB}" dt="2024-12-04T12:24:05.377" v="39" actId="20577"/>
      <pc:docMkLst>
        <pc:docMk/>
      </pc:docMkLst>
      <pc:sldChg chg="del">
        <pc:chgData name="Batuhan Yelseli" userId="S::batuhan.yelseli@fintegral.com.tr::e1126a1f-d490-470b-80e9-57d2ed9dcaf7" providerId="AD" clId="Web-{BE8A6BB6-3078-C9F1-ACBB-5A755F9368BB}" dt="2024-12-04T11:20:25.918" v="0"/>
        <pc:sldMkLst>
          <pc:docMk/>
          <pc:sldMk cId="0" sldId="261"/>
        </pc:sldMkLst>
      </pc:sldChg>
      <pc:sldChg chg="modSp">
        <pc:chgData name="Batuhan Yelseli" userId="S::batuhan.yelseli@fintegral.com.tr::e1126a1f-d490-470b-80e9-57d2ed9dcaf7" providerId="AD" clId="Web-{BE8A6BB6-3078-C9F1-ACBB-5A755F9368BB}" dt="2024-12-04T12:22:29.483" v="1" actId="1076"/>
        <pc:sldMkLst>
          <pc:docMk/>
          <pc:sldMk cId="3866243125" sldId="265"/>
        </pc:sldMkLst>
        <pc:picChg chg="mod">
          <ac:chgData name="Batuhan Yelseli" userId="S::batuhan.yelseli@fintegral.com.tr::e1126a1f-d490-470b-80e9-57d2ed9dcaf7" providerId="AD" clId="Web-{BE8A6BB6-3078-C9F1-ACBB-5A755F9368BB}" dt="2024-12-04T12:22:29.483" v="1" actId="1076"/>
          <ac:picMkLst>
            <pc:docMk/>
            <pc:sldMk cId="3866243125" sldId="265"/>
            <ac:picMk id="8" creationId="{8E2DEDDD-6994-65A4-B8E0-F8F82C179CAF}"/>
          </ac:picMkLst>
        </pc:picChg>
      </pc:sldChg>
      <pc:sldChg chg="addSp modSp">
        <pc:chgData name="Batuhan Yelseli" userId="S::batuhan.yelseli@fintegral.com.tr::e1126a1f-d490-470b-80e9-57d2ed9dcaf7" providerId="AD" clId="Web-{BE8A6BB6-3078-C9F1-ACBB-5A755F9368BB}" dt="2024-12-04T12:24:05.377" v="39" actId="20577"/>
        <pc:sldMkLst>
          <pc:docMk/>
          <pc:sldMk cId="173792906" sldId="282"/>
        </pc:sldMkLst>
      </pc:sldChg>
      <pc:sldChg chg="modSp">
        <pc:chgData name="Batuhan Yelseli" userId="S::batuhan.yelseli@fintegral.com.tr::e1126a1f-d490-470b-80e9-57d2ed9dcaf7" providerId="AD" clId="Web-{BE8A6BB6-3078-C9F1-ACBB-5A755F9368BB}" dt="2024-12-04T12:22:34.171" v="2" actId="1076"/>
        <pc:sldMkLst>
          <pc:docMk/>
          <pc:sldMk cId="3193571855" sldId="290"/>
        </pc:sldMkLst>
      </pc:sldChg>
    </pc:docChg>
  </pc:docChgLst>
  <pc:docChgLst>
    <pc:chgData name="Batuhan Yelseli" userId="S::batuhan.yelseli@fintegral.com.tr::e1126a1f-d490-470b-80e9-57d2ed9dcaf7" providerId="AD" clId="Web-{EA99BAC2-647C-628C-4699-C2FD74E1FD35}"/>
    <pc:docChg chg="addSld modSld">
      <pc:chgData name="Batuhan Yelseli" userId="S::batuhan.yelseli@fintegral.com.tr::e1126a1f-d490-470b-80e9-57d2ed9dcaf7" providerId="AD" clId="Web-{EA99BAC2-647C-628C-4699-C2FD74E1FD35}" dt="2024-12-04T11:14:21.289" v="396" actId="1076"/>
      <pc:docMkLst>
        <pc:docMk/>
      </pc:docMkLst>
      <pc:sldChg chg="addSp delSp modSp">
        <pc:chgData name="Batuhan Yelseli" userId="S::batuhan.yelseli@fintegral.com.tr::e1126a1f-d490-470b-80e9-57d2ed9dcaf7" providerId="AD" clId="Web-{EA99BAC2-647C-628C-4699-C2FD74E1FD35}" dt="2024-12-04T11:02:07.938" v="159" actId="20577"/>
        <pc:sldMkLst>
          <pc:docMk/>
          <pc:sldMk cId="0" sldId="257"/>
        </pc:sldMkLst>
        <pc:spChg chg="mod">
          <ac:chgData name="Batuhan Yelseli" userId="S::batuhan.yelseli@fintegral.com.tr::e1126a1f-d490-470b-80e9-57d2ed9dcaf7" providerId="AD" clId="Web-{EA99BAC2-647C-628C-4699-C2FD74E1FD35}" dt="2024-12-04T10:56:50.554" v="12" actId="20577"/>
          <ac:spMkLst>
            <pc:docMk/>
            <pc:sldMk cId="0" sldId="257"/>
            <ac:spMk id="4" creationId="{32E6913F-B29A-099E-A738-7ED96DCE72A9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0:57:00.992" v="36" actId="20577"/>
          <ac:spMkLst>
            <pc:docMk/>
            <pc:sldMk cId="0" sldId="257"/>
            <ac:spMk id="7" creationId="{896D15E7-BB90-4A37-3DF5-B74860808388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1:01:23.046" v="145" actId="20577"/>
          <ac:spMkLst>
            <pc:docMk/>
            <pc:sldMk cId="0" sldId="257"/>
            <ac:spMk id="10" creationId="{2D3A8575-5F7F-F089-2FC2-9114FEA0A98B}"/>
          </ac:spMkLst>
        </pc:spChg>
        <pc:spChg chg="mod">
          <ac:chgData name="Batuhan Yelseli" userId="S::batuhan.yelseli@fintegral.com.tr::e1126a1f-d490-470b-80e9-57d2ed9dcaf7" providerId="AD" clId="Web-{EA99BAC2-647C-628C-4699-C2FD74E1FD35}" dt="2024-12-04T11:02:07.938" v="159" actId="20577"/>
          <ac:spMkLst>
            <pc:docMk/>
            <pc:sldMk cId="0" sldId="257"/>
            <ac:spMk id="13" creationId="{993E1443-C725-EB95-2DC0-BCE39F75E2CC}"/>
          </ac:spMkLst>
        </pc:spChg>
        <pc:grpChg chg="mod">
          <ac:chgData name="Batuhan Yelseli" userId="S::batuhan.yelseli@fintegral.com.tr::e1126a1f-d490-470b-80e9-57d2ed9dcaf7" providerId="AD" clId="Web-{EA99BAC2-647C-628C-4699-C2FD74E1FD35}" dt="2024-12-04T11:01:59.891" v="147" actId="1076"/>
          <ac:grpSpMkLst>
            <pc:docMk/>
            <pc:sldMk cId="0" sldId="257"/>
            <ac:grpSpMk id="9" creationId="{88E72CAF-7ACF-B8A3-E95B-09033262E177}"/>
          </ac:grpSpMkLst>
        </pc:grpChg>
        <pc:grpChg chg="add mod">
          <ac:chgData name="Batuhan Yelseli" userId="S::batuhan.yelseli@fintegral.com.tr::e1126a1f-d490-470b-80e9-57d2ed9dcaf7" providerId="AD" clId="Web-{EA99BAC2-647C-628C-4699-C2FD74E1FD35}" dt="2024-12-04T11:02:03.751" v="150" actId="1076"/>
          <ac:grpSpMkLst>
            <pc:docMk/>
            <pc:sldMk cId="0" sldId="257"/>
            <ac:grpSpMk id="12" creationId="{6976BC80-68D3-633D-41E2-04C7BC09A752}"/>
          </ac:grpSpMkLst>
        </pc:grpChg>
        <pc:cxnChg chg="mod">
          <ac:chgData name="Batuhan Yelseli" userId="S::batuhan.yelseli@fintegral.com.tr::e1126a1f-d490-470b-80e9-57d2ed9dcaf7" providerId="AD" clId="Web-{EA99BAC2-647C-628C-4699-C2FD74E1FD35}" dt="2024-12-04T11:02:00.579" v="148"/>
          <ac:cxnSpMkLst>
            <pc:docMk/>
            <pc:sldMk cId="0" sldId="257"/>
            <ac:cxnSpMk id="14" creationId="{07E268E6-6494-F45A-1D6D-A571D74A286C}"/>
          </ac:cxnSpMkLst>
        </pc:cxnChg>
      </pc:sldChg>
      <pc:sldChg chg="addSp modSp">
        <pc:chgData name="Batuhan Yelseli" userId="S::batuhan.yelseli@fintegral.com.tr::e1126a1f-d490-470b-80e9-57d2ed9dcaf7" providerId="AD" clId="Web-{EA99BAC2-647C-628C-4699-C2FD74E1FD35}" dt="2024-12-04T11:14:21.289" v="396" actId="1076"/>
        <pc:sldMkLst>
          <pc:docMk/>
          <pc:sldMk cId="0" sldId="261"/>
        </pc:sldMkLst>
      </pc:sldChg>
      <pc:sldChg chg="modSp">
        <pc:chgData name="Batuhan Yelseli" userId="S::batuhan.yelseli@fintegral.com.tr::e1126a1f-d490-470b-80e9-57d2ed9dcaf7" providerId="AD" clId="Web-{EA99BAC2-647C-628C-4699-C2FD74E1FD35}" dt="2024-12-04T11:14:20.586" v="395" actId="1076"/>
        <pc:sldMkLst>
          <pc:docMk/>
          <pc:sldMk cId="1507332737" sldId="264"/>
        </pc:sldMkLst>
        <pc:spChg chg="mod">
          <ac:chgData name="Batuhan Yelseli" userId="S::batuhan.yelseli@fintegral.com.tr::e1126a1f-d490-470b-80e9-57d2ed9dcaf7" providerId="AD" clId="Web-{EA99BAC2-647C-628C-4699-C2FD74E1FD35}" dt="2024-12-04T11:14:20.586" v="395" actId="1076"/>
          <ac:spMkLst>
            <pc:docMk/>
            <pc:sldMk cId="1507332737" sldId="264"/>
            <ac:spMk id="2" creationId="{3670ECD0-6FB7-2503-EA31-65B17D888D52}"/>
          </ac:spMkLst>
        </pc:spChg>
      </pc:sldChg>
      <pc:sldChg chg="modSp">
        <pc:chgData name="Batuhan Yelseli" userId="S::batuhan.yelseli@fintegral.com.tr::e1126a1f-d490-470b-80e9-57d2ed9dcaf7" providerId="AD" clId="Web-{EA99BAC2-647C-628C-4699-C2FD74E1FD35}" dt="2024-12-04T11:00:26.435" v="116" actId="20577"/>
        <pc:sldMkLst>
          <pc:docMk/>
          <pc:sldMk cId="181281364" sldId="266"/>
        </pc:sldMkLst>
        <pc:spChg chg="mod">
          <ac:chgData name="Batuhan Yelseli" userId="S::batuhan.yelseli@fintegral.com.tr::e1126a1f-d490-470b-80e9-57d2ed9dcaf7" providerId="AD" clId="Web-{EA99BAC2-647C-628C-4699-C2FD74E1FD35}" dt="2024-12-04T11:00:26.435" v="116" actId="20577"/>
          <ac:spMkLst>
            <pc:docMk/>
            <pc:sldMk cId="181281364" sldId="266"/>
            <ac:spMk id="69" creationId="{B80DEEB7-0BE6-8121-AB46-4D9A1782C3C9}"/>
          </ac:spMkLst>
        </pc:spChg>
      </pc:sldChg>
      <pc:sldChg chg="modSp new">
        <pc:chgData name="Batuhan Yelseli" userId="S::batuhan.yelseli@fintegral.com.tr::e1126a1f-d490-470b-80e9-57d2ed9dcaf7" providerId="AD" clId="Web-{EA99BAC2-647C-628C-4699-C2FD74E1FD35}" dt="2024-12-04T10:58:54.511" v="89" actId="20577"/>
        <pc:sldMkLst>
          <pc:docMk/>
          <pc:sldMk cId="173792906" sldId="282"/>
        </pc:sldMkLst>
        <pc:spChg chg="mod">
          <ac:chgData name="Batuhan Yelseli" userId="S::batuhan.yelseli@fintegral.com.tr::e1126a1f-d490-470b-80e9-57d2ed9dcaf7" providerId="AD" clId="Web-{EA99BAC2-647C-628C-4699-C2FD74E1FD35}" dt="2024-12-04T10:58:54.511" v="89" actId="20577"/>
          <ac:spMkLst>
            <pc:docMk/>
            <pc:sldMk cId="173792906" sldId="282"/>
            <ac:spMk id="2" creationId="{BB164071-5427-ED98-0F3B-A2D0AFAA2D33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0:59:20.590" v="90"/>
        <pc:sldMkLst>
          <pc:docMk/>
          <pc:sldMk cId="2458421258" sldId="283"/>
        </pc:sldMkLst>
      </pc:sldChg>
      <pc:sldChg chg="add replId">
        <pc:chgData name="Batuhan Yelseli" userId="S::batuhan.yelseli@fintegral.com.tr::e1126a1f-d490-470b-80e9-57d2ed9dcaf7" providerId="AD" clId="Web-{EA99BAC2-647C-628C-4699-C2FD74E1FD35}" dt="2024-12-04T10:59:20.808" v="91"/>
        <pc:sldMkLst>
          <pc:docMk/>
          <pc:sldMk cId="1799373561" sldId="284"/>
        </pc:sldMkLst>
      </pc:sldChg>
      <pc:sldChg chg="modSp new">
        <pc:chgData name="Batuhan Yelseli" userId="S::batuhan.yelseli@fintegral.com.tr::e1126a1f-d490-470b-80e9-57d2ed9dcaf7" providerId="AD" clId="Web-{EA99BAC2-647C-628C-4699-C2FD74E1FD35}" dt="2024-12-04T10:59:38.356" v="105" actId="20577"/>
        <pc:sldMkLst>
          <pc:docMk/>
          <pc:sldMk cId="1730444853" sldId="285"/>
        </pc:sldMkLst>
        <pc:spChg chg="mod">
          <ac:chgData name="Batuhan Yelseli" userId="S::batuhan.yelseli@fintegral.com.tr::e1126a1f-d490-470b-80e9-57d2ed9dcaf7" providerId="AD" clId="Web-{EA99BAC2-647C-628C-4699-C2FD74E1FD35}" dt="2024-12-04T10:59:38.356" v="105" actId="20577"/>
          <ac:spMkLst>
            <pc:docMk/>
            <pc:sldMk cId="1730444853" sldId="285"/>
            <ac:spMk id="2" creationId="{D47425B2-E745-8317-0702-31CCF8CA37D4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1:00:12.388" v="106"/>
        <pc:sldMkLst>
          <pc:docMk/>
          <pc:sldMk cId="2972345480" sldId="286"/>
        </pc:sldMkLst>
      </pc:sldChg>
      <pc:sldChg chg="addSp modSp new mod modClrScheme chgLayout">
        <pc:chgData name="Batuhan Yelseli" userId="S::batuhan.yelseli@fintegral.com.tr::e1126a1f-d490-470b-80e9-57d2ed9dcaf7" providerId="AD" clId="Web-{EA99BAC2-647C-628C-4699-C2FD74E1FD35}" dt="2024-12-04T11:00:41.170" v="120"/>
        <pc:sldMkLst>
          <pc:docMk/>
          <pc:sldMk cId="1173608751" sldId="287"/>
        </pc:sldMkLst>
        <pc:spChg chg="add mod">
          <ac:chgData name="Batuhan Yelseli" userId="S::batuhan.yelseli@fintegral.com.tr::e1126a1f-d490-470b-80e9-57d2ed9dcaf7" providerId="AD" clId="Web-{EA99BAC2-647C-628C-4699-C2FD74E1FD35}" dt="2024-12-04T11:00:34.686" v="119" actId="20577"/>
          <ac:spMkLst>
            <pc:docMk/>
            <pc:sldMk cId="1173608751" sldId="287"/>
            <ac:spMk id="3" creationId="{3B884AE8-AD3B-E839-2770-B3E561E81E22}"/>
          </ac:spMkLst>
        </pc:spChg>
        <pc:spChg chg="add mod ord">
          <ac:chgData name="Batuhan Yelseli" userId="S::batuhan.yelseli@fintegral.com.tr::e1126a1f-d490-470b-80e9-57d2ed9dcaf7" providerId="AD" clId="Web-{EA99BAC2-647C-628C-4699-C2FD74E1FD35}" dt="2024-12-04T11:00:41.170" v="120"/>
          <ac:spMkLst>
            <pc:docMk/>
            <pc:sldMk cId="1173608751" sldId="287"/>
            <ac:spMk id="4" creationId="{04F8A6F9-8B7F-00E6-1305-E899E193354E}"/>
          </ac:spMkLst>
        </pc:spChg>
      </pc:sldChg>
      <pc:sldChg chg="add replId">
        <pc:chgData name="Batuhan Yelseli" userId="S::batuhan.yelseli@fintegral.com.tr::e1126a1f-d490-470b-80e9-57d2ed9dcaf7" providerId="AD" clId="Web-{EA99BAC2-647C-628C-4699-C2FD74E1FD35}" dt="2024-12-04T11:00:46.358" v="121"/>
        <pc:sldMkLst>
          <pc:docMk/>
          <pc:sldMk cId="807331676" sldId="288"/>
        </pc:sldMkLst>
      </pc:sldChg>
      <pc:sldChg chg="add replId">
        <pc:chgData name="Batuhan Yelseli" userId="S::batuhan.yelseli@fintegral.com.tr::e1126a1f-d490-470b-80e9-57d2ed9dcaf7" providerId="AD" clId="Web-{EA99BAC2-647C-628C-4699-C2FD74E1FD35}" dt="2024-12-04T11:00:48.030" v="122"/>
        <pc:sldMkLst>
          <pc:docMk/>
          <pc:sldMk cId="1381465311" sldId="289"/>
        </pc:sldMkLst>
      </pc:sldChg>
    </pc:docChg>
  </pc:docChgLst>
  <pc:docChgLst>
    <pc:chgData name="Batuhan Yelseli" userId="S::batuhan.yelseli@fintegral.com.tr::e1126a1f-d490-470b-80e9-57d2ed9dcaf7" providerId="AD" clId="Web-{206B58CE-643E-501E-D527-55D3BB36F8D1}"/>
    <pc:docChg chg="modSld">
      <pc:chgData name="Batuhan Yelseli" userId="S::batuhan.yelseli@fintegral.com.tr::e1126a1f-d490-470b-80e9-57d2ed9dcaf7" providerId="AD" clId="Web-{206B58CE-643E-501E-D527-55D3BB36F8D1}" dt="2024-12-06T11:34:57.929" v="3" actId="14100"/>
      <pc:docMkLst>
        <pc:docMk/>
      </pc:docMkLst>
      <pc:sldChg chg="modSp">
        <pc:chgData name="Batuhan Yelseli" userId="S::batuhan.yelseli@fintegral.com.tr::e1126a1f-d490-470b-80e9-57d2ed9dcaf7" providerId="AD" clId="Web-{206B58CE-643E-501E-D527-55D3BB36F8D1}" dt="2024-12-06T11:34:57.929" v="3" actId="14100"/>
        <pc:sldMkLst>
          <pc:docMk/>
          <pc:sldMk cId="1122526701" sldId="268"/>
        </pc:sldMkLst>
        <pc:spChg chg="mod">
          <ac:chgData name="Batuhan Yelseli" userId="S::batuhan.yelseli@fintegral.com.tr::e1126a1f-d490-470b-80e9-57d2ed9dcaf7" providerId="AD" clId="Web-{206B58CE-643E-501E-D527-55D3BB36F8D1}" dt="2024-12-06T11:34:57.929" v="3" actId="14100"/>
          <ac:spMkLst>
            <pc:docMk/>
            <pc:sldMk cId="1122526701" sldId="268"/>
            <ac:spMk id="6" creationId="{98BE2231-AF47-32B4-4272-64530E7F55A2}"/>
          </ac:spMkLst>
        </pc:spChg>
        <pc:picChg chg="mod">
          <ac:chgData name="Batuhan Yelseli" userId="S::batuhan.yelseli@fintegral.com.tr::e1126a1f-d490-470b-80e9-57d2ed9dcaf7" providerId="AD" clId="Web-{206B58CE-643E-501E-D527-55D3BB36F8D1}" dt="2024-12-06T11:34:51.288" v="0" actId="1076"/>
          <ac:picMkLst>
            <pc:docMk/>
            <pc:sldMk cId="1122526701" sldId="268"/>
            <ac:picMk id="3" creationId="{6BA49D2D-CD86-4AFE-7766-6FAB6BCD9078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863230636337463E-3"/>
          <c:y val="4.1599999999999998E-2"/>
          <c:w val="0.88367405701122947"/>
          <c:h val="0.916799999999999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4057782.968999997</c:v>
                </c:pt>
                <c:pt idx="1">
                  <c:v>49339728.566</c:v>
                </c:pt>
                <c:pt idx="2">
                  <c:v>52004845.452</c:v>
                </c:pt>
                <c:pt idx="3">
                  <c:v>46276005.862999998</c:v>
                </c:pt>
                <c:pt idx="4">
                  <c:v>45864868.027999997</c:v>
                </c:pt>
                <c:pt idx="5">
                  <c:v>46242838.098999999</c:v>
                </c:pt>
                <c:pt idx="6">
                  <c:v>47511100.943000004</c:v>
                </c:pt>
                <c:pt idx="7">
                  <c:v>47759685.836000003</c:v>
                </c:pt>
                <c:pt idx="8">
                  <c:v>44068860.835000001</c:v>
                </c:pt>
                <c:pt idx="9">
                  <c:v>55372204.410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09-4FF0-A509-3672560F9D95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370432661.03799999</c:v>
                </c:pt>
                <c:pt idx="1">
                  <c:v>404765658.36000001</c:v>
                </c:pt>
                <c:pt idx="2">
                  <c:v>404860279.40100002</c:v>
                </c:pt>
                <c:pt idx="3">
                  <c:v>361425100.16100001</c:v>
                </c:pt>
                <c:pt idx="4">
                  <c:v>358511912.54400003</c:v>
                </c:pt>
                <c:pt idx="5">
                  <c:v>392797816.92699999</c:v>
                </c:pt>
                <c:pt idx="6">
                  <c:v>398575871.12599999</c:v>
                </c:pt>
                <c:pt idx="7">
                  <c:v>385052427.81999999</c:v>
                </c:pt>
                <c:pt idx="8">
                  <c:v>388456798.85699999</c:v>
                </c:pt>
                <c:pt idx="9">
                  <c:v>481522501.038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09-4FF0-A509-3672560F9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7082864"/>
        <c:axId val="1"/>
      </c:barChart>
      <c:catAx>
        <c:axId val="677082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77082864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086246727244723E-3"/>
          <c:y val="4.1599999999999998E-2"/>
          <c:w val="0.94532573540736176"/>
          <c:h val="0.91679999999999995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1.89360107868038</c:v>
                </c:pt>
                <c:pt idx="1">
                  <c:v>12.18970225041104</c:v>
                </c:pt>
                <c:pt idx="2">
                  <c:v>12.845134012391229</c:v>
                </c:pt>
                <c:pt idx="3">
                  <c:v>12.80376095694127</c:v>
                </c:pt>
                <c:pt idx="4">
                  <c:v>12.793122466292109</c:v>
                </c:pt>
                <c:pt idx="5">
                  <c:v>11.772682053269669</c:v>
                </c:pt>
                <c:pt idx="6">
                  <c:v>11.920215041813339</c:v>
                </c:pt>
                <c:pt idx="7">
                  <c:v>12.40342415353531</c:v>
                </c:pt>
                <c:pt idx="8">
                  <c:v>11.34459763985822</c:v>
                </c:pt>
                <c:pt idx="9">
                  <c:v>11.499401230788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BA5-44A8-9815-3CC9AE9EB6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7183296"/>
        <c:axId val="1"/>
      </c:lineChart>
      <c:catAx>
        <c:axId val="6671832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67183296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5024154589372E-3"/>
          <c:y val="9.2067988668555242E-2"/>
          <c:w val="0.94640700483091789"/>
          <c:h val="0.81586402266288949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18.78870221790449</c:v>
                </c:pt>
                <c:pt idx="1">
                  <c:v>19.736116670703531</c:v>
                </c:pt>
                <c:pt idx="2">
                  <c:v>20.09000099531886</c:v>
                </c:pt>
                <c:pt idx="3">
                  <c:v>19.968089050626809</c:v>
                </c:pt>
                <c:pt idx="4">
                  <c:v>19.927004715848351</c:v>
                </c:pt>
                <c:pt idx="5">
                  <c:v>18.85367236837812</c:v>
                </c:pt>
                <c:pt idx="6">
                  <c:v>18.24143356721229</c:v>
                </c:pt>
                <c:pt idx="7">
                  <c:v>18.442103422155739</c:v>
                </c:pt>
                <c:pt idx="8">
                  <c:v>18.57366408137765</c:v>
                </c:pt>
                <c:pt idx="9">
                  <c:v>17.89623358892065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481-488C-8A0A-8335DADCC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7176456"/>
        <c:axId val="1"/>
      </c:lineChart>
      <c:catAx>
        <c:axId val="667176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67176456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5024154589372E-3"/>
          <c:y val="8.1863979848866494E-2"/>
          <c:w val="0.94640700483091789"/>
          <c:h val="0.83627204030226698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1:$J$1</c:f>
              <c:numCache>
                <c:formatCode>General</c:formatCode>
                <c:ptCount val="10"/>
                <c:pt idx="0">
                  <c:v>6.6406173000057684</c:v>
                </c:pt>
                <c:pt idx="1">
                  <c:v>6.7308362148967884</c:v>
                </c:pt>
                <c:pt idx="2">
                  <c:v>7.2672155958346876</c:v>
                </c:pt>
                <c:pt idx="3">
                  <c:v>7.0291230178517461</c:v>
                </c:pt>
                <c:pt idx="4">
                  <c:v>6.9098854318418983</c:v>
                </c:pt>
                <c:pt idx="5">
                  <c:v>6.3563664948956244</c:v>
                </c:pt>
                <c:pt idx="6">
                  <c:v>6.2571493936886986</c:v>
                </c:pt>
                <c:pt idx="7">
                  <c:v>6.4801034695264947</c:v>
                </c:pt>
                <c:pt idx="8">
                  <c:v>5.1425387561439422</c:v>
                </c:pt>
                <c:pt idx="9">
                  <c:v>5.491299664332787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6C8-4582-95C5-35E464741B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7175376"/>
        <c:axId val="1"/>
      </c:lineChart>
      <c:catAx>
        <c:axId val="667175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667175376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59422563941629E-3"/>
          <c:y val="4.1401273885350316E-2"/>
          <c:w val="0.98368115487211671"/>
          <c:h val="0.917197452229299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60179713.31900001</c:v>
                </c:pt>
                <c:pt idx="1">
                  <c:v>169897259.215</c:v>
                </c:pt>
                <c:pt idx="2">
                  <c:v>176114435.222</c:v>
                </c:pt>
                <c:pt idx="3">
                  <c:v>161303390.877</c:v>
                </c:pt>
                <c:pt idx="4">
                  <c:v>162033589.39500001</c:v>
                </c:pt>
                <c:pt idx="5">
                  <c:v>170238045.59599999</c:v>
                </c:pt>
                <c:pt idx="6">
                  <c:v>188343441.39899999</c:v>
                </c:pt>
                <c:pt idx="7">
                  <c:v>190669538.46900001</c:v>
                </c:pt>
                <c:pt idx="8">
                  <c:v>179376774.61500001</c:v>
                </c:pt>
                <c:pt idx="9">
                  <c:v>233216566.115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84-435B-9115-4D7DE57F0C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9056992"/>
        <c:axId val="1"/>
      </c:barChart>
      <c:catAx>
        <c:axId val="679056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679056992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59422563941629E-3"/>
          <c:y val="3.6312849162011177E-2"/>
          <c:w val="0.98368115487211671"/>
          <c:h val="0.927374301675977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10252947.71900001</c:v>
                </c:pt>
                <c:pt idx="1">
                  <c:v>234868399.14500001</c:v>
                </c:pt>
                <c:pt idx="2">
                  <c:v>228745844.17899999</c:v>
                </c:pt>
                <c:pt idx="3">
                  <c:v>200121709.28400001</c:v>
                </c:pt>
                <c:pt idx="4">
                  <c:v>196478323.14899999</c:v>
                </c:pt>
                <c:pt idx="5">
                  <c:v>222559771.331</c:v>
                </c:pt>
                <c:pt idx="6">
                  <c:v>210232429.727</c:v>
                </c:pt>
                <c:pt idx="7">
                  <c:v>194382889.35100001</c:v>
                </c:pt>
                <c:pt idx="8">
                  <c:v>209080024.24200001</c:v>
                </c:pt>
                <c:pt idx="9">
                  <c:v>248305934.92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0B-4C9F-A060-156F41ABF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7431552"/>
        <c:axId val="1"/>
      </c:barChart>
      <c:catAx>
        <c:axId val="487431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tr-TR"/>
          </a:p>
        </c:txPr>
        <c:crossAx val="487431552"/>
        <c:crosses val="max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33918128654972E-2"/>
          <c:y val="3.8713519952352587E-2"/>
          <c:w val="0.91652046783625729"/>
          <c:h val="0.86599166170339492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5C8-4D88-B405-3AFBB5721603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5C8-4D88-B405-3AFBB5721603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5C8-4D88-B405-3AFBB5721603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5C8-4D88-B405-3AFBB5721603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5C8-4D88-B405-3AFBB5721603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5C8-4D88-B405-3AFBB5721603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5C8-4D88-B405-3AFBB5721603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5C8-4D88-B405-3AFBB5721603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5C8-4D88-B405-3AFBB5721603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5C8-4D88-B405-3AFBB5721603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6.0621813936177809</c:v>
                </c:pt>
                <c:pt idx="1">
                  <c:v>6.2677245573582754</c:v>
                </c:pt>
                <c:pt idx="2">
                  <c:v>6.5512059856875791</c:v>
                </c:pt>
                <c:pt idx="3">
                  <c:v>7.0272873112472682</c:v>
                </c:pt>
                <c:pt idx="4">
                  <c:v>7.134962749745231</c:v>
                </c:pt>
                <c:pt idx="5">
                  <c:v>7.0129839392599829</c:v>
                </c:pt>
                <c:pt idx="6">
                  <c:v>6.6456512046926637</c:v>
                </c:pt>
                <c:pt idx="7">
                  <c:v>6.8029426456164366</c:v>
                </c:pt>
                <c:pt idx="8">
                  <c:v>6.8965495538371524</c:v>
                </c:pt>
                <c:pt idx="9">
                  <c:v>6.33272152611043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65C8-4D88-B405-3AFBB5721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8"/>
          <c:min val="5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33918128654972E-2"/>
          <c:y val="3.8713519952352587E-2"/>
          <c:w val="0.91652046783625729"/>
          <c:h val="0.86599166170339492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11C-4904-BB02-0FA079A254A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11C-4904-BB02-0FA079A254A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11C-4904-BB02-0FA079A254A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11C-4904-BB02-0FA079A254A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11C-4904-BB02-0FA079A254A6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11C-4904-BB02-0FA079A254A6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11C-4904-BB02-0FA079A254A6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11C-4904-BB02-0FA079A254A6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11C-4904-BB02-0FA079A254A6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11C-4904-BB02-0FA079A254A6}"/>
              </c:ext>
            </c:extLst>
          </c:dPt>
          <c:xVal>
            <c:numRef>
              <c:f>Sheet1!$A$1:$J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6.0621813936177809</c:v>
                </c:pt>
                <c:pt idx="1">
                  <c:v>6.2677245573582754</c:v>
                </c:pt>
                <c:pt idx="2">
                  <c:v>6.5512059856875791</c:v>
                </c:pt>
                <c:pt idx="3">
                  <c:v>7.0272873112472682</c:v>
                </c:pt>
                <c:pt idx="4">
                  <c:v>7.134962749745231</c:v>
                </c:pt>
                <c:pt idx="5">
                  <c:v>7.0129839392599829</c:v>
                </c:pt>
                <c:pt idx="6">
                  <c:v>6.6456512046926637</c:v>
                </c:pt>
                <c:pt idx="7">
                  <c:v>6.8029426456164366</c:v>
                </c:pt>
                <c:pt idx="8">
                  <c:v>6.8965495538371524</c:v>
                </c:pt>
                <c:pt idx="9">
                  <c:v>6.33272152611043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611C-4904-BB02-0FA079A254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1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8"/>
          <c:min val="5"/>
        </c:scaling>
        <c:delete val="0"/>
        <c:axPos val="r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3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" name="Google Shape;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" name="Google Shape;8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iriş">
  <p:cSld name="Giriş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10"/>
          <p:cNvSpPr/>
          <p:nvPr/>
        </p:nvSpPr>
        <p:spPr>
          <a:xfrm>
            <a:off x="-12095" y="0"/>
            <a:ext cx="12204095" cy="6880981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 t="-964" b="-17254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8;p10"/>
          <p:cNvSpPr/>
          <p:nvPr/>
        </p:nvSpPr>
        <p:spPr>
          <a:xfrm>
            <a:off x="10091145" y="5184371"/>
            <a:ext cx="1694163" cy="1351513"/>
          </a:xfrm>
          <a:custGeom>
            <a:avLst/>
            <a:gdLst/>
            <a:ahLst/>
            <a:cxnLst/>
            <a:rect l="l" t="t" r="r" b="b"/>
            <a:pathLst>
              <a:path w="2541245" h="2027269" extrusionOk="0">
                <a:moveTo>
                  <a:pt x="0" y="0"/>
                </a:moveTo>
                <a:lnTo>
                  <a:pt x="2541245" y="0"/>
                </a:lnTo>
                <a:lnTo>
                  <a:pt x="2541245" y="2027268"/>
                </a:lnTo>
                <a:lnTo>
                  <a:pt x="0" y="202726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Google Shape;9;p10"/>
          <p:cNvGrpSpPr/>
          <p:nvPr/>
        </p:nvGrpSpPr>
        <p:grpSpPr>
          <a:xfrm>
            <a:off x="0" y="1838216"/>
            <a:ext cx="4539898" cy="2892246"/>
            <a:chOff x="0" y="-114300"/>
            <a:chExt cx="1793540" cy="1142616"/>
          </a:xfrm>
        </p:grpSpPr>
        <p:sp>
          <p:nvSpPr>
            <p:cNvPr id="10" name="Google Shape;10;p10"/>
            <p:cNvSpPr/>
            <p:nvPr/>
          </p:nvSpPr>
          <p:spPr>
            <a:xfrm>
              <a:off x="0" y="0"/>
              <a:ext cx="1793540" cy="1028316"/>
            </a:xfrm>
            <a:custGeom>
              <a:avLst/>
              <a:gdLst/>
              <a:ahLst/>
              <a:cxnLst/>
              <a:rect l="l" t="t" r="r" b="b"/>
              <a:pathLst>
                <a:path w="1793540" h="1028316" extrusionOk="0">
                  <a:moveTo>
                    <a:pt x="0" y="0"/>
                  </a:moveTo>
                  <a:lnTo>
                    <a:pt x="1793540" y="0"/>
                  </a:lnTo>
                  <a:lnTo>
                    <a:pt x="1793540" y="1028316"/>
                  </a:lnTo>
                  <a:lnTo>
                    <a:pt x="0" y="1028316"/>
                  </a:lnTo>
                  <a:close/>
                </a:path>
              </a:pathLst>
            </a:custGeom>
            <a:solidFill>
              <a:srgbClr val="13173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11" name="Google Shape;11;p10"/>
            <p:cNvSpPr txBox="1"/>
            <p:nvPr/>
          </p:nvSpPr>
          <p:spPr>
            <a:xfrm>
              <a:off x="0" y="-114300"/>
              <a:ext cx="1793540" cy="11426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ctr" rtl="0">
                <a:lnSpc>
                  <a:spcPct val="31325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89D56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sp>
        <p:nvSpPr>
          <p:cNvPr id="12" name="Google Shape;12;p10"/>
          <p:cNvSpPr txBox="1">
            <a:spLocks noGrp="1"/>
          </p:cNvSpPr>
          <p:nvPr>
            <p:ph type="title"/>
          </p:nvPr>
        </p:nvSpPr>
        <p:spPr>
          <a:xfrm>
            <a:off x="176264" y="2493493"/>
            <a:ext cx="4187371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961"/>
              <a:buFont typeface="Proxima Nova"/>
              <a:buNone/>
              <a:defRPr sz="1961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10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spcBef>
                <a:spcPts val="267"/>
              </a:spcBef>
              <a:spcAft>
                <a:spcPts val="0"/>
              </a:spcAft>
              <a:buClr>
                <a:srgbClr val="F89D56"/>
              </a:buClr>
              <a:buSzPts val="1333"/>
              <a:buFont typeface="Arial"/>
              <a:buNone/>
              <a:defRPr sz="1333" b="0" i="0" u="none" strike="noStrike" cap="none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defRPr>
            </a:lvl1pPr>
            <a:lvl2pPr marL="914400" marR="0" lvl="1" indent="-228600" algn="l" rtl="0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13"/>
              </a:spcBef>
              <a:spcAft>
                <a:spcPts val="0"/>
              </a:spcAft>
              <a:buClr>
                <a:srgbClr val="888888"/>
              </a:buClr>
              <a:buSzPts val="1067"/>
              <a:buFont typeface="Arial"/>
              <a:buNone/>
              <a:defRPr sz="10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187"/>
              </a:spcBef>
              <a:spcAft>
                <a:spcPts val="0"/>
              </a:spcAft>
              <a:buClr>
                <a:srgbClr val="888888"/>
              </a:buClr>
              <a:buSzPts val="933"/>
              <a:buFont typeface="Arial"/>
              <a:buNone/>
              <a:defRPr sz="9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indekiler">
  <p:cSld name="İçindekil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1"/>
          <p:cNvSpPr/>
          <p:nvPr/>
        </p:nvSpPr>
        <p:spPr>
          <a:xfrm>
            <a:off x="605802" y="771273"/>
            <a:ext cx="167379" cy="167650"/>
          </a:xfrm>
          <a:custGeom>
            <a:avLst/>
            <a:gdLst/>
            <a:ahLst/>
            <a:cxnLst/>
            <a:rect l="l" t="t" r="r" b="b"/>
            <a:pathLst>
              <a:path w="251069" h="251475" extrusionOk="0">
                <a:moveTo>
                  <a:pt x="0" y="0"/>
                </a:moveTo>
                <a:lnTo>
                  <a:pt x="251069" y="0"/>
                </a:lnTo>
                <a:lnTo>
                  <a:pt x="251069" y="251475"/>
                </a:lnTo>
                <a:lnTo>
                  <a:pt x="0" y="251475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11"/>
          <p:cNvSpPr txBox="1"/>
          <p:nvPr/>
        </p:nvSpPr>
        <p:spPr>
          <a:xfrm>
            <a:off x="928130" y="686211"/>
            <a:ext cx="2233712" cy="405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4002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84" b="1">
                <a:solidFill>
                  <a:srgbClr val="132052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rPr>
              <a:t>İÇİNDEKİLE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İçerik">
  <p:cSld name="İçerik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780306-8FDB-37DB-CC83-A9D3E550B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5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780306-8FDB-37DB-CC83-A9D3E550B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oogle Shape;20;p13"/>
          <p:cNvSpPr/>
          <p:nvPr/>
        </p:nvSpPr>
        <p:spPr>
          <a:xfrm>
            <a:off x="10763605" y="6172200"/>
            <a:ext cx="742595" cy="592403"/>
          </a:xfrm>
          <a:custGeom>
            <a:avLst/>
            <a:gdLst/>
            <a:ahLst/>
            <a:cxnLst/>
            <a:rect l="l" t="t" r="r" b="b"/>
            <a:pathLst>
              <a:path w="1113893" h="888604" extrusionOk="0">
                <a:moveTo>
                  <a:pt x="0" y="0"/>
                </a:moveTo>
                <a:lnTo>
                  <a:pt x="1113893" y="0"/>
                </a:lnTo>
                <a:lnTo>
                  <a:pt x="1113893" y="888604"/>
                </a:lnTo>
                <a:lnTo>
                  <a:pt x="0" y="88860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1" name="Google Shape;21;p13"/>
          <p:cNvCxnSpPr>
            <a:cxnSpLocks/>
          </p:cNvCxnSpPr>
          <p:nvPr/>
        </p:nvCxnSpPr>
        <p:spPr>
          <a:xfrm>
            <a:off x="355600" y="889000"/>
            <a:ext cx="11318783" cy="0"/>
          </a:xfrm>
          <a:prstGeom prst="straightConnector1">
            <a:avLst/>
          </a:prstGeom>
          <a:noFill/>
          <a:ln w="38100" cap="flat" cmpd="sng">
            <a:solidFill>
              <a:srgbClr val="F89D5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22;p13"/>
          <p:cNvSpPr txBox="1"/>
          <p:nvPr/>
        </p:nvSpPr>
        <p:spPr>
          <a:xfrm>
            <a:off x="355600" y="6415841"/>
            <a:ext cx="1422400" cy="243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87">
                <a:solidFill>
                  <a:schemeClr val="dk1"/>
                </a:solidFill>
                <a:latin typeface="+mj-lt"/>
                <a:ea typeface="Proxima Nova"/>
                <a:cs typeface="Proxima Nova"/>
                <a:sym typeface="Proxima Nova"/>
              </a:rPr>
              <a:t>‹#›</a:t>
            </a:fld>
            <a:endParaRPr sz="1487">
              <a:solidFill>
                <a:schemeClr val="dk1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23" name="Google Shape;23;p13"/>
          <p:cNvSpPr txBox="1">
            <a:spLocks noGrp="1"/>
          </p:cNvSpPr>
          <p:nvPr>
            <p:ph type="title" hasCustomPrompt="1"/>
          </p:nvPr>
        </p:nvSpPr>
        <p:spPr>
          <a:xfrm>
            <a:off x="355600" y="164996"/>
            <a:ext cx="11318783" cy="586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Proxima Nova"/>
              <a:buNone/>
              <a:defRPr sz="2200" b="0" i="0" u="none" strike="noStrike" cap="none">
                <a:solidFill>
                  <a:schemeClr val="dk1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tr-TR"/>
              <a:t>J</a:t>
            </a:r>
            <a:br>
              <a:rPr lang="tr-TR"/>
            </a:br>
            <a:r>
              <a:rPr lang="tr-TR" err="1"/>
              <a:t>j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şekkürler">
  <p:cSld name="Teşekkürler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14"/>
          <p:cNvSpPr txBox="1"/>
          <p:nvPr/>
        </p:nvSpPr>
        <p:spPr>
          <a:xfrm>
            <a:off x="4818931" y="4189542"/>
            <a:ext cx="2554139" cy="420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997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TEŞEKKÜRLER</a:t>
            </a:r>
            <a:endParaRPr>
              <a:latin typeface="+mj-lt"/>
            </a:endParaRPr>
          </a:p>
        </p:txBody>
      </p:sp>
      <p:sp>
        <p:nvSpPr>
          <p:cNvPr id="27" name="Google Shape;27;p14"/>
          <p:cNvSpPr/>
          <p:nvPr/>
        </p:nvSpPr>
        <p:spPr>
          <a:xfrm>
            <a:off x="4818931" y="1337187"/>
            <a:ext cx="2554139" cy="2037555"/>
          </a:xfrm>
          <a:custGeom>
            <a:avLst/>
            <a:gdLst/>
            <a:ahLst/>
            <a:cxnLst/>
            <a:rect l="l" t="t" r="r" b="b"/>
            <a:pathLst>
              <a:path w="3831208" h="3056332" extrusionOk="0">
                <a:moveTo>
                  <a:pt x="0" y="0"/>
                </a:moveTo>
                <a:lnTo>
                  <a:pt x="3831208" y="0"/>
                </a:lnTo>
                <a:lnTo>
                  <a:pt x="3831208" y="3056332"/>
                </a:lnTo>
                <a:lnTo>
                  <a:pt x="0" y="3056332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ak">
  <p:cSld name="Kapa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5"/>
          <p:cNvSpPr/>
          <p:nvPr/>
        </p:nvSpPr>
        <p:spPr>
          <a:xfrm flipH="1"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30;p15"/>
          <p:cNvSpPr txBox="1"/>
          <p:nvPr/>
        </p:nvSpPr>
        <p:spPr>
          <a:xfrm>
            <a:off x="6908800" y="736600"/>
            <a:ext cx="4781705" cy="44283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7689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letmeler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hedeflerin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ulaş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rekabet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avantaj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kazanmaları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trateji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sunan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bi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danışmanlık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2333" b="1" err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firmasıdır</a:t>
            </a:r>
            <a:r>
              <a:rPr lang="en-US" sz="2333" b="1">
                <a:solidFill>
                  <a:srgbClr val="F89D56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urums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ijit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önüşüm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edari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zinci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önetim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ib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irço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la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laşmı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l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lerin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enilikç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eçlerin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yileştir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mka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ağl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  <a:p>
            <a:pPr marL="0" marR="0" lvl="0" indent="0" algn="r" rtl="0">
              <a:lnSpc>
                <a:spcPct val="134583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Fintegra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Consulting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eneyimiy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dünyasınd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ürdürülebil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üyüm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başarıya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an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Uzma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kibimiz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her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rojed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titizlikl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alışar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müşter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dakl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trateji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liştiri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şletmeniz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kârlılığın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rtırma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,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z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payınızı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genişle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operasyonel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verimliliğinizi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yükseltmek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iç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etkin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çözümle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 </a:t>
            </a:r>
            <a:r>
              <a:rPr lang="en-US" sz="1333" b="0" err="1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sunar</a:t>
            </a:r>
            <a:r>
              <a:rPr lang="en-US" sz="1333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.</a:t>
            </a:r>
            <a:endParaRPr sz="1333" b="0">
              <a:solidFill>
                <a:srgbClr val="FFFFFF"/>
              </a:solidFill>
              <a:latin typeface="+mj-lt"/>
              <a:ea typeface="Proxima Nova"/>
              <a:cs typeface="Proxima Nova"/>
              <a:sym typeface="Proxima Nova"/>
            </a:endParaRPr>
          </a:p>
        </p:txBody>
      </p:sp>
      <p:sp>
        <p:nvSpPr>
          <p:cNvPr id="31" name="Google Shape;31;p15"/>
          <p:cNvSpPr/>
          <p:nvPr/>
        </p:nvSpPr>
        <p:spPr>
          <a:xfrm>
            <a:off x="469723" y="5677876"/>
            <a:ext cx="1239302" cy="988649"/>
          </a:xfrm>
          <a:custGeom>
            <a:avLst/>
            <a:gdLst/>
            <a:ahLst/>
            <a:cxnLst/>
            <a:rect l="l" t="t" r="r" b="b"/>
            <a:pathLst>
              <a:path w="1858953" h="1482973" extrusionOk="0">
                <a:moveTo>
                  <a:pt x="0" y="0"/>
                </a:moveTo>
                <a:lnTo>
                  <a:pt x="1858953" y="0"/>
                </a:lnTo>
                <a:lnTo>
                  <a:pt x="1858953" y="1482974"/>
                </a:lnTo>
                <a:lnTo>
                  <a:pt x="0" y="148297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11768" t="-14070" r="-11768" b="-3845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15"/>
          <p:cNvSpPr txBox="1"/>
          <p:nvPr/>
        </p:nvSpPr>
        <p:spPr>
          <a:xfrm>
            <a:off x="7569200" y="5481177"/>
            <a:ext cx="4219575" cy="494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Ataköy 7-8-9-10. Kısım Mh. Çobançeşme E5 Yanyol Cd.</a:t>
            </a:r>
            <a:endParaRPr>
              <a:latin typeface="+mj-lt"/>
            </a:endParaRPr>
          </a:p>
          <a:p>
            <a:pPr marL="0" marR="0" lvl="0" indent="0" algn="r" rtl="0">
              <a:lnSpc>
                <a:spcPct val="1342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>
                <a:solidFill>
                  <a:srgbClr val="FFFFFF"/>
                </a:solidFill>
                <a:latin typeface="+mj-lt"/>
                <a:ea typeface="Proxima Nova"/>
                <a:cs typeface="Proxima Nova"/>
                <a:sym typeface="Proxima Nova"/>
              </a:rPr>
              <a:t>No: 8/2 A Ofis Kt: 13 No:51 Bakırköy/İSTANBUL</a:t>
            </a:r>
            <a:endParaRPr>
              <a:latin typeface="+mj-lt"/>
            </a:endParaRPr>
          </a:p>
        </p:txBody>
      </p:sp>
      <p:sp>
        <p:nvSpPr>
          <p:cNvPr id="33" name="Google Shape;33;p15"/>
          <p:cNvSpPr txBox="1"/>
          <p:nvPr/>
        </p:nvSpPr>
        <p:spPr>
          <a:xfrm>
            <a:off x="9617280" y="6200166"/>
            <a:ext cx="2073225" cy="291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3997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51">
                <a:solidFill>
                  <a:schemeClr val="lt1"/>
                </a:solidFill>
                <a:latin typeface="+mj-lt"/>
                <a:ea typeface="Proxima Nova"/>
                <a:cs typeface="Proxima Nova"/>
                <a:sym typeface="Proxima Nova"/>
              </a:rPr>
              <a:t>fintegral.com.tr</a:t>
            </a:r>
            <a:endParaRPr>
              <a:latin typeface="+mj-l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8AD157-0C87-4E5F-B1E0-E84EC195E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8838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8AD157-0C87-4E5F-B1E0-E84EC195E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chart" Target="../charts/chart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image" Target="../media/image1.emf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chart" Target="../charts/chart2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tags" Target="../tags/tag83.xml"/><Relationship Id="rId39" Type="http://schemas.openxmlformats.org/officeDocument/2006/relationships/oleObject" Target="../embeddings/oleObject6.bin"/><Relationship Id="rId3" Type="http://schemas.openxmlformats.org/officeDocument/2006/relationships/tags" Target="../tags/tag60.xml"/><Relationship Id="rId21" Type="http://schemas.openxmlformats.org/officeDocument/2006/relationships/tags" Target="../tags/tag78.xml"/><Relationship Id="rId34" Type="http://schemas.openxmlformats.org/officeDocument/2006/relationships/tags" Target="../tags/tag91.xml"/><Relationship Id="rId42" Type="http://schemas.openxmlformats.org/officeDocument/2006/relationships/chart" Target="../charts/chart4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tags" Target="../tags/tag82.xml"/><Relationship Id="rId33" Type="http://schemas.openxmlformats.org/officeDocument/2006/relationships/tags" Target="../tags/tag90.xml"/><Relationship Id="rId38" Type="http://schemas.openxmlformats.org/officeDocument/2006/relationships/slideLayout" Target="../slideLayouts/slideLayout3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29" Type="http://schemas.openxmlformats.org/officeDocument/2006/relationships/tags" Target="../tags/tag86.xml"/><Relationship Id="rId41" Type="http://schemas.openxmlformats.org/officeDocument/2006/relationships/chart" Target="../charts/chart3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32" Type="http://schemas.openxmlformats.org/officeDocument/2006/relationships/tags" Target="../tags/tag89.xml"/><Relationship Id="rId37" Type="http://schemas.openxmlformats.org/officeDocument/2006/relationships/tags" Target="../tags/tag94.xml"/><Relationship Id="rId40" Type="http://schemas.openxmlformats.org/officeDocument/2006/relationships/image" Target="../media/image1.emf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tags" Target="../tags/tag85.xml"/><Relationship Id="rId36" Type="http://schemas.openxmlformats.org/officeDocument/2006/relationships/tags" Target="../tags/tag93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31" Type="http://schemas.openxmlformats.org/officeDocument/2006/relationships/tags" Target="../tags/tag88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tags" Target="../tags/tag84.xml"/><Relationship Id="rId30" Type="http://schemas.openxmlformats.org/officeDocument/2006/relationships/tags" Target="../tags/tag87.xml"/><Relationship Id="rId35" Type="http://schemas.openxmlformats.org/officeDocument/2006/relationships/tags" Target="../tags/tag9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39" Type="http://schemas.openxmlformats.org/officeDocument/2006/relationships/tags" Target="../tags/tag133.xml"/><Relationship Id="rId21" Type="http://schemas.openxmlformats.org/officeDocument/2006/relationships/tags" Target="../tags/tag115.xml"/><Relationship Id="rId34" Type="http://schemas.openxmlformats.org/officeDocument/2006/relationships/tags" Target="../tags/tag128.xml"/><Relationship Id="rId42" Type="http://schemas.openxmlformats.org/officeDocument/2006/relationships/tags" Target="../tags/tag136.xml"/><Relationship Id="rId47" Type="http://schemas.openxmlformats.org/officeDocument/2006/relationships/tags" Target="../tags/tag141.xml"/><Relationship Id="rId50" Type="http://schemas.openxmlformats.org/officeDocument/2006/relationships/tags" Target="../tags/tag144.xml"/><Relationship Id="rId55" Type="http://schemas.openxmlformats.org/officeDocument/2006/relationships/tags" Target="../tags/tag149.xml"/><Relationship Id="rId63" Type="http://schemas.openxmlformats.org/officeDocument/2006/relationships/tags" Target="../tags/tag157.xml"/><Relationship Id="rId68" Type="http://schemas.openxmlformats.org/officeDocument/2006/relationships/image" Target="../media/image1.emf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9" Type="http://schemas.openxmlformats.org/officeDocument/2006/relationships/tags" Target="../tags/tag123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tags" Target="../tags/tag118.xml"/><Relationship Id="rId32" Type="http://schemas.openxmlformats.org/officeDocument/2006/relationships/tags" Target="../tags/tag126.xml"/><Relationship Id="rId37" Type="http://schemas.openxmlformats.org/officeDocument/2006/relationships/tags" Target="../tags/tag131.xml"/><Relationship Id="rId40" Type="http://schemas.openxmlformats.org/officeDocument/2006/relationships/tags" Target="../tags/tag134.xml"/><Relationship Id="rId45" Type="http://schemas.openxmlformats.org/officeDocument/2006/relationships/tags" Target="../tags/tag139.xml"/><Relationship Id="rId53" Type="http://schemas.openxmlformats.org/officeDocument/2006/relationships/tags" Target="../tags/tag147.xml"/><Relationship Id="rId58" Type="http://schemas.openxmlformats.org/officeDocument/2006/relationships/tags" Target="../tags/tag152.xml"/><Relationship Id="rId66" Type="http://schemas.openxmlformats.org/officeDocument/2006/relationships/slideLayout" Target="../slideLayouts/slideLayout3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tags" Target="../tags/tag130.xml"/><Relationship Id="rId49" Type="http://schemas.openxmlformats.org/officeDocument/2006/relationships/tags" Target="../tags/tag143.xml"/><Relationship Id="rId57" Type="http://schemas.openxmlformats.org/officeDocument/2006/relationships/tags" Target="../tags/tag151.xml"/><Relationship Id="rId61" Type="http://schemas.openxmlformats.org/officeDocument/2006/relationships/tags" Target="../tags/tag155.xml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31" Type="http://schemas.openxmlformats.org/officeDocument/2006/relationships/tags" Target="../tags/tag125.xml"/><Relationship Id="rId44" Type="http://schemas.openxmlformats.org/officeDocument/2006/relationships/tags" Target="../tags/tag138.xml"/><Relationship Id="rId52" Type="http://schemas.openxmlformats.org/officeDocument/2006/relationships/tags" Target="../tags/tag146.xml"/><Relationship Id="rId60" Type="http://schemas.openxmlformats.org/officeDocument/2006/relationships/tags" Target="../tags/tag154.xml"/><Relationship Id="rId65" Type="http://schemas.openxmlformats.org/officeDocument/2006/relationships/tags" Target="../tags/tag159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43" Type="http://schemas.openxmlformats.org/officeDocument/2006/relationships/tags" Target="../tags/tag137.xml"/><Relationship Id="rId48" Type="http://schemas.openxmlformats.org/officeDocument/2006/relationships/tags" Target="../tags/tag142.xml"/><Relationship Id="rId56" Type="http://schemas.openxmlformats.org/officeDocument/2006/relationships/tags" Target="../tags/tag150.xml"/><Relationship Id="rId64" Type="http://schemas.openxmlformats.org/officeDocument/2006/relationships/tags" Target="../tags/tag158.xml"/><Relationship Id="rId69" Type="http://schemas.openxmlformats.org/officeDocument/2006/relationships/chart" Target="../charts/chart5.xml"/><Relationship Id="rId8" Type="http://schemas.openxmlformats.org/officeDocument/2006/relationships/tags" Target="../tags/tag102.xml"/><Relationship Id="rId51" Type="http://schemas.openxmlformats.org/officeDocument/2006/relationships/tags" Target="../tags/tag145.xml"/><Relationship Id="rId3" Type="http://schemas.openxmlformats.org/officeDocument/2006/relationships/tags" Target="../tags/tag97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tags" Target="../tags/tag132.xml"/><Relationship Id="rId46" Type="http://schemas.openxmlformats.org/officeDocument/2006/relationships/tags" Target="../tags/tag140.xml"/><Relationship Id="rId59" Type="http://schemas.openxmlformats.org/officeDocument/2006/relationships/tags" Target="../tags/tag153.xml"/><Relationship Id="rId67" Type="http://schemas.openxmlformats.org/officeDocument/2006/relationships/oleObject" Target="../embeddings/oleObject7.bin"/><Relationship Id="rId20" Type="http://schemas.openxmlformats.org/officeDocument/2006/relationships/tags" Target="../tags/tag114.xml"/><Relationship Id="rId41" Type="http://schemas.openxmlformats.org/officeDocument/2006/relationships/tags" Target="../tags/tag135.xml"/><Relationship Id="rId54" Type="http://schemas.openxmlformats.org/officeDocument/2006/relationships/tags" Target="../tags/tag148.xml"/><Relationship Id="rId62" Type="http://schemas.openxmlformats.org/officeDocument/2006/relationships/tags" Target="../tags/tag156.xml"/><Relationship Id="rId70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chart" Target="../charts/chart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image" Target="../media/image1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6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163.xml"/><Relationship Id="rId9" Type="http://schemas.openxmlformats.org/officeDocument/2006/relationships/tags" Target="../tags/tag16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chart" Target="../charts/chart8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image" Target="../media/image1.emf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17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172.xml"/><Relationship Id="rId9" Type="http://schemas.openxmlformats.org/officeDocument/2006/relationships/tags" Target="../tags/tag17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0F026E1-D27D-3777-9BB5-CD07A2ED5E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429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F026E1-D27D-3777-9BB5-CD07A2ED5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Google Shape;39;p1"/>
          <p:cNvSpPr txBox="1">
            <a:spLocks noGrp="1"/>
          </p:cNvSpPr>
          <p:nvPr>
            <p:ph type="body" idx="1"/>
          </p:nvPr>
        </p:nvSpPr>
        <p:spPr>
          <a:xfrm>
            <a:off x="198035" y="3987800"/>
            <a:ext cx="4165600" cy="505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en-US" err="1"/>
              <a:t>Ekim</a:t>
            </a:r>
            <a:r>
              <a:rPr lang="en-US"/>
              <a:t> 2024, </a:t>
            </a:r>
            <a:endParaRPr/>
          </a:p>
          <a:p>
            <a:pPr marL="0" lvl="0" indent="0" algn="l" rtl="0">
              <a:spcBef>
                <a:spcPts val="260"/>
              </a:spcBef>
              <a:spcAft>
                <a:spcPts val="0"/>
              </a:spcAft>
              <a:buClr>
                <a:srgbClr val="F89D56"/>
              </a:buClr>
              <a:buSzPts val="1300"/>
              <a:buNone/>
            </a:pPr>
            <a:r>
              <a:rPr lang="en-US"/>
              <a:t>Batuhan Yelseli</a:t>
            </a:r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D668ED-59D5-E382-7A19-33ECD1C99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/>
              <a:t>Tüketici elektroniği pazar yeri stratejik değerlendirm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3108728-1560-9617-D5FC-BB9B5959D56E}"/>
              </a:ext>
            </a:extLst>
          </p:cNvPr>
          <p:cNvGrpSpPr/>
          <p:nvPr/>
        </p:nvGrpSpPr>
        <p:grpSpPr>
          <a:xfrm>
            <a:off x="685800" y="1527308"/>
            <a:ext cx="3516630" cy="385618"/>
            <a:chOff x="685800" y="1527308"/>
            <a:chExt cx="3516630" cy="385618"/>
          </a:xfrm>
        </p:grpSpPr>
        <p:sp>
          <p:nvSpPr>
            <p:cNvPr id="44" name="Google Shape;44;p2"/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79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tr-TR" sz="1400">
                  <a:solidFill>
                    <a:srgbClr val="132052"/>
                  </a:solidFill>
                  <a:latin typeface="+mj-lt"/>
                  <a:ea typeface="Arial"/>
                  <a:cs typeface="Arial"/>
                  <a:sym typeface="Arial"/>
                </a:rPr>
                <a:t>Yönetici özeti</a:t>
              </a:r>
              <a:endParaRPr sz="1400">
                <a:solidFill>
                  <a:srgbClr val="132052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5" name="Google Shape;45;p2"/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52" name="Google Shape;52;p2"/>
          <p:cNvSpPr/>
          <p:nvPr/>
        </p:nvSpPr>
        <p:spPr>
          <a:xfrm>
            <a:off x="4436135" y="0"/>
            <a:ext cx="8575452" cy="6858000"/>
          </a:xfrm>
          <a:custGeom>
            <a:avLst/>
            <a:gdLst/>
            <a:ahLst/>
            <a:cxnLst/>
            <a:rect l="l" t="t" r="r" b="b"/>
            <a:pathLst>
              <a:path w="12863178" h="11049171" extrusionOk="0">
                <a:moveTo>
                  <a:pt x="0" y="0"/>
                </a:moveTo>
                <a:lnTo>
                  <a:pt x="12863178" y="0"/>
                </a:lnTo>
                <a:lnTo>
                  <a:pt x="12863178" y="11049171"/>
                </a:lnTo>
                <a:lnTo>
                  <a:pt x="0" y="1104917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 l="-34985" r="-18055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1F285-0F1E-AD2A-69B0-6397C3F91873}"/>
              </a:ext>
            </a:extLst>
          </p:cNvPr>
          <p:cNvGrpSpPr/>
          <p:nvPr/>
        </p:nvGrpSpPr>
        <p:grpSpPr>
          <a:xfrm>
            <a:off x="685800" y="2278145"/>
            <a:ext cx="3516630" cy="385618"/>
            <a:chOff x="685800" y="1527308"/>
            <a:chExt cx="3516630" cy="385618"/>
          </a:xfrm>
        </p:grpSpPr>
        <p:sp>
          <p:nvSpPr>
            <p:cNvPr id="4" name="Google Shape;44;p2">
              <a:extLst>
                <a:ext uri="{FF2B5EF4-FFF2-40B4-BE49-F238E27FC236}">
                  <a16:creationId xmlns:a16="http://schemas.microsoft.com/office/drawing/2014/main" id="{32E6913F-B29A-099E-A738-7ED96DCE72A9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Global ve yerel pazaryeri sektörü</a:t>
              </a:r>
              <a:endParaRPr lang="tr-TR"/>
            </a:p>
          </p:txBody>
        </p:sp>
        <p:cxnSp>
          <p:nvCxnSpPr>
            <p:cNvPr id="5" name="Google Shape;45;p2">
              <a:extLst>
                <a:ext uri="{FF2B5EF4-FFF2-40B4-BE49-F238E27FC236}">
                  <a16:creationId xmlns:a16="http://schemas.microsoft.com/office/drawing/2014/main" id="{8A1E259C-97B0-A76C-48F2-A9BB56D64BEC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02C7B03-4FAF-1E16-0CA3-25F0785C3FC8}"/>
              </a:ext>
            </a:extLst>
          </p:cNvPr>
          <p:cNvGrpSpPr/>
          <p:nvPr/>
        </p:nvGrpSpPr>
        <p:grpSpPr>
          <a:xfrm>
            <a:off x="685800" y="3028982"/>
            <a:ext cx="3516630" cy="385618"/>
            <a:chOff x="685800" y="1527308"/>
            <a:chExt cx="3516630" cy="385618"/>
          </a:xfrm>
        </p:grpSpPr>
        <p:sp>
          <p:nvSpPr>
            <p:cNvPr id="7" name="Google Shape;44;p2">
              <a:extLst>
                <a:ext uri="{FF2B5EF4-FFF2-40B4-BE49-F238E27FC236}">
                  <a16:creationId xmlns:a16="http://schemas.microsoft.com/office/drawing/2014/main" id="{896D15E7-BB90-4A37-3DF5-B74860808388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Kullanıcı içgörüleri ve trendler</a:t>
              </a:r>
              <a:endParaRPr lang="tr-TR"/>
            </a:p>
          </p:txBody>
        </p:sp>
        <p:cxnSp>
          <p:nvCxnSpPr>
            <p:cNvPr id="8" name="Google Shape;45;p2">
              <a:extLst>
                <a:ext uri="{FF2B5EF4-FFF2-40B4-BE49-F238E27FC236}">
                  <a16:creationId xmlns:a16="http://schemas.microsoft.com/office/drawing/2014/main" id="{7F9399E4-A257-3D77-F235-4E5681D1B42B}"/>
                </a:ext>
              </a:extLst>
            </p:cNvPr>
            <p:cNvCxnSpPr/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8E72CAF-7ACF-B8A3-E95B-09033262E177}"/>
              </a:ext>
            </a:extLst>
          </p:cNvPr>
          <p:cNvGrpSpPr/>
          <p:nvPr/>
        </p:nvGrpSpPr>
        <p:grpSpPr>
          <a:xfrm>
            <a:off x="685800" y="3661066"/>
            <a:ext cx="3516630" cy="771237"/>
            <a:chOff x="685800" y="1527308"/>
            <a:chExt cx="3516630" cy="771237"/>
          </a:xfrm>
        </p:grpSpPr>
        <p:sp>
          <p:nvSpPr>
            <p:cNvPr id="10" name="Google Shape;44;p2">
              <a:extLst>
                <a:ext uri="{FF2B5EF4-FFF2-40B4-BE49-F238E27FC236}">
                  <a16:creationId xmlns:a16="http://schemas.microsoft.com/office/drawing/2014/main" id="{2D3A8575-5F7F-F089-2FC2-9114FEA0A98B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7712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İş vakası yaklaşımı (Bütçe ve finansal analiz, opsiyonlar)</a:t>
              </a:r>
              <a:endParaRPr lang="tr-TR"/>
            </a:p>
          </p:txBody>
        </p:sp>
        <p:cxnSp>
          <p:nvCxnSpPr>
            <p:cNvPr id="11" name="Google Shape;45;p2">
              <a:extLst>
                <a:ext uri="{FF2B5EF4-FFF2-40B4-BE49-F238E27FC236}">
                  <a16:creationId xmlns:a16="http://schemas.microsoft.com/office/drawing/2014/main" id="{3001EE8E-F5BE-231D-6EA6-DB7BBDB86855}"/>
                </a:ext>
              </a:extLst>
            </p:cNvPr>
            <p:cNvCxnSpPr/>
            <p:nvPr/>
          </p:nvCxnSpPr>
          <p:spPr>
            <a:xfrm>
              <a:off x="685800" y="2247719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" name="Group 8">
            <a:extLst>
              <a:ext uri="{FF2B5EF4-FFF2-40B4-BE49-F238E27FC236}">
                <a16:creationId xmlns:a16="http://schemas.microsoft.com/office/drawing/2014/main" id="{6976BC80-68D3-633D-41E2-04C7BC09A752}"/>
              </a:ext>
            </a:extLst>
          </p:cNvPr>
          <p:cNvGrpSpPr/>
          <p:nvPr/>
        </p:nvGrpSpPr>
        <p:grpSpPr>
          <a:xfrm>
            <a:off x="685800" y="4630884"/>
            <a:ext cx="3516630" cy="385618"/>
            <a:chOff x="685800" y="1527308"/>
            <a:chExt cx="3516630" cy="385618"/>
          </a:xfrm>
        </p:grpSpPr>
        <p:sp>
          <p:nvSpPr>
            <p:cNvPr id="13" name="Google Shape;44;p2">
              <a:extLst>
                <a:ext uri="{FF2B5EF4-FFF2-40B4-BE49-F238E27FC236}">
                  <a16:creationId xmlns:a16="http://schemas.microsoft.com/office/drawing/2014/main" id="{993E1443-C725-EB95-2DC0-BCE39F75E2CC}"/>
                </a:ext>
              </a:extLst>
            </p:cNvPr>
            <p:cNvSpPr txBox="1"/>
            <p:nvPr/>
          </p:nvSpPr>
          <p:spPr>
            <a:xfrm>
              <a:off x="685801" y="1527308"/>
              <a:ext cx="3516629" cy="3856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>
                <a:lnSpc>
                  <a:spcPct val="179000"/>
                </a:lnSpc>
              </a:pPr>
              <a:r>
                <a:rPr lang="tr-TR">
                  <a:solidFill>
                    <a:srgbClr val="132052"/>
                  </a:solidFill>
                  <a:latin typeface="+mj-lt"/>
                </a:rPr>
                <a:t>Yol haritası</a:t>
              </a:r>
              <a:endParaRPr lang="tr-TR"/>
            </a:p>
          </p:txBody>
        </p:sp>
        <p:cxnSp>
          <p:nvCxnSpPr>
            <p:cNvPr id="14" name="Google Shape;45;p2">
              <a:extLst>
                <a:ext uri="{FF2B5EF4-FFF2-40B4-BE49-F238E27FC236}">
                  <a16:creationId xmlns:a16="http://schemas.microsoft.com/office/drawing/2014/main" id="{07E268E6-6494-F45A-1D6D-A571D74A286C}"/>
                </a:ext>
              </a:extLst>
            </p:cNvPr>
            <p:cNvCxnSpPr>
              <a:cxnSpLocks/>
            </p:cNvCxnSpPr>
            <p:nvPr/>
          </p:nvCxnSpPr>
          <p:spPr>
            <a:xfrm>
              <a:off x="685800" y="1901355"/>
              <a:ext cx="2305947" cy="0"/>
            </a:xfrm>
            <a:prstGeom prst="straightConnector1">
              <a:avLst/>
            </a:prstGeom>
            <a:noFill/>
            <a:ln w="19050" cap="flat" cmpd="sng">
              <a:solidFill>
                <a:srgbClr val="F89D56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F14670-A328-00A1-9CE6-CE088B94F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89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25" imgH="426" progId="TCLayout.ActiveDocument.1">
                  <p:embed/>
                </p:oleObj>
              </mc:Choice>
              <mc:Fallback>
                <p:oleObj name="think-cell Slide" r:id="rId36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F14670-A328-00A1-9CE6-CE088B94F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877133-0E9A-69CF-2FAE-FB2A3737F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2</a:t>
            </a:r>
          </a:p>
        </p:txBody>
      </p:sp>
      <p:graphicFrame>
        <p:nvGraphicFramePr>
          <p:cNvPr id="366" name="Chart 365">
            <a:extLst>
              <a:ext uri="{FF2B5EF4-FFF2-40B4-BE49-F238E27FC236}">
                <a16:creationId xmlns:a16="http://schemas.microsoft.com/office/drawing/2014/main" id="{3B62AD28-DB5C-3D81-373C-20355CB4D5A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515093"/>
              </p:ext>
            </p:extLst>
          </p:nvPr>
        </p:nvGraphicFramePr>
        <p:xfrm>
          <a:off x="693738" y="1089025"/>
          <a:ext cx="11026775" cy="4960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69" name="Rectangle 268">
            <a:extLst>
              <a:ext uri="{FF2B5EF4-FFF2-40B4-BE49-F238E27FC236}">
                <a16:creationId xmlns:a16="http://schemas.microsoft.com/office/drawing/2014/main" id="{B30F0261-9239-ED5F-A4CB-8E27C379B93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85850" y="55657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EAAC47-27CE-40BC-B0F5-30B8753F1032}" type="datetime'''''1''''1''''''''%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38E9C82-A4B7-58C3-6687-FB2E7EEE99E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763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8E0A7C-837C-43AD-97E6-16F62122CAB1}" type="datetime'''''''20''''''''''''''''''''''''1''''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935541BB-05E9-9782-BD98-3C428806426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060575" y="36671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2263A0B-AF8A-4BD2-A714-AC108B4DFC65}" type="datetime'''''''''''''''''''8''''''''''''''''''''9''''''''''''%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E7B10EEB-7F37-4017-5F1F-BBF1BAEE4C3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060575" y="55435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6FE47C-52F0-47F5-950C-1B21E11FF39A}" type="datetime'''''''''11''''''''''%''''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8F6AA9-AA56-B794-383C-E99BF71D830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0510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4D2777-34A7-4C54-93E5-90ADFC13EDC5}" type="datetime'''''''''''''''''''2''''0''''''''''13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9A761D58-F679-88F9-8494-38B59BF5FAAA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033713" y="364331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5C104E-4FD6-4941-BD5D-748389999FF8}" type="datetime'''''''''''8''''''''''''''''9''''''%''''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31631A2C-A0A9-C0B7-13CC-8629F57D0AF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033713" y="55324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A9ED1E-D50D-47F7-97A6-9B6EABB54C9A}" type="datetime'''''''''''''''''''''''''1''''''''''''1''''''''''''''%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41B9E9C-7822-E12A-791F-057DBA376E8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0241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0B278E-F9AB-4110-9C61-1B892D62A44F}" type="datetime'''''''''''''''''''''''''''''''''20''''1''''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A7632757-36BE-6160-CC64-3FA634A443A7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008438" y="38703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E5D942-4570-4B72-9E59-79889FEB0F45}" type="datetime'''''''''''8''''9''''''''''''''%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E6A566E6-11B1-CB1C-30C7-09F2C26943BE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008438" y="55562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811CA5-4C2E-4F2E-989A-3DDE1342E06E}" type="datetime'''1''1''''''''%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0FCB533-6088-11FE-3394-86A1EE694C8E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99891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BF96EE-0F92-4A7C-A2B4-552291D30F44}" type="datetime'''''''''''2''''''01''''''''''''''''''''''''''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501973E8-D1D2-4CAB-5800-54959F54006D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983163" y="388620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7680FC-0638-4178-AAAC-0F0CE3BF119B}" type="datetime'''''8''''''''''''''''9''''''''''''''''''%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209FDB8B-3262-7872-8CB4-20F4F0991273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983163" y="55578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96A3C7-8D1A-4FAA-A949-C0F238FA820F}" type="datetime'''1''''1''''''%''''''''''''''''''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E76B921-8BA0-08DC-EC1C-A5A428D172E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97363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73FE02-8034-429A-8C61-359422CF4D0B}" type="datetime'2''0''''''''''''''''''''''''''1''''''''''''''6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1707EC08-CE4E-371D-6359-3E30AAEB5A51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957888" y="37417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35F81F-714A-4C33-92DF-79ABACCE930C}" type="datetime'''8''''''''''''''9''''%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FBE4ED5D-0E05-77BA-2004-42FB4B9EA7B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085850" y="38512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55D92E-2D94-441D-9F66-83E34AD49399}" type="datetime'''''''''''''''''''''''''''''''''8''''''''''''''9''''''''''%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9451C56-0E80-70A0-4A24-7A1C59B4BAB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948363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41C2AD-C17B-4AE2-B41A-A82E59ECAF0A}" type="datetime'''2''''''''''''''''''0''''''''''''17''''''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AFF845FA-EF97-70C5-0296-71501CE00308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932613" y="370681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2A2166-618D-4536-852C-AE26974189DC}" type="datetime'''''''89''''''%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561910B6-E590-EBD4-5638-F78BB476EF5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932613" y="555148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729E7D-6EB7-43AD-B7DF-8659B0AD0B79}" type="datetime'''''''''''1''''''''''''''''''''''''''''''''''''1''''%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6C5B14F-F66C-575B-4B6B-F1CFFBF3CD5B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923088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F3F0D6-3FEC-47C7-A462-24997308BD2C}" type="datetime'''''''''20''1''''''''''''''''''''''''''''''''''''''8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CBDDD2CD-B828-CC72-1462-C3023BBE7043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905750" y="376078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7F85AD-8E58-4912-9F0E-05BB28B9294D}" type="datetime'''''89''%'''''''''''''''''''''''''''''''''''''''">
              <a:rPr lang="tr-TR" altLang="en-US" kern="1200" smtClean="0">
                <a:solidFill>
                  <a:schemeClr val="bg1"/>
                </a:solidFill>
              </a:rPr>
              <a:pPr/>
              <a:t>89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169A6DC9-6AD6-5504-B4AD-2A062D56FC1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905750" y="554990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BE5C55-10A0-473F-98E3-06D5D59E8E93}" type="datetime'''''''''''''''''''''''''''''''''''1''''''''1''''''%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E532F6A-44D2-41C8-48E8-77B62F230E8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89622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4FF65A-ECDB-4456-BD25-4484655D4510}" type="datetime'''''''''''2''0''1''''''''9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633A9120-A936-C358-A7F3-897FE625A055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8880475" y="3776663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3A91F8-9CCC-408D-BD53-7B527E34CEB6}" type="datetime'''''9''''''''''''0%'''">
              <a:rPr lang="tr-TR" altLang="en-US" kern="1200" smtClean="0">
                <a:solidFill>
                  <a:schemeClr val="bg1"/>
                </a:solidFill>
              </a:rPr>
              <a:pPr/>
              <a:t>90%</a:t>
            </a:fld>
            <a:endParaRPr lang="tr-TR" kern="1200" dirty="0">
              <a:solidFill>
                <a:schemeClr val="bg1"/>
              </a:solidFill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AD7D3068-AB11-3035-7987-FC9E20FC3289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880475" y="556577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5D661E-E837-4347-9109-EC3132A02DF7}" type="datetime'1''''''''''''''''''''''''''''''''''''''0''''''''''%'''''''">
              <a:rPr lang="tr-TR" altLang="en-US" kern="1200" smtClean="0">
                <a:solidFill>
                  <a:schemeClr val="bg1"/>
                </a:solidFill>
              </a:rPr>
              <a:pPr/>
              <a:t>1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8845E64-9530-3F5D-C78C-9077E9F465F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870950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E059C8-28CC-4EEF-B6C2-1D682A2F109D}" type="datetime'''''''''''''2''''''''''''''''''''''''''''0''''''''''2''0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44F948F9-4B3E-A178-B651-47E82D5CF58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9855200" y="3298825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916576-1B02-4EFF-9C8B-663AB8496BCD}" type="datetime'''''''''''''''''''9''''''''''0''%'">
              <a:rPr lang="tr-TR" altLang="en-US" kern="1200" smtClean="0">
                <a:solidFill>
                  <a:schemeClr val="bg1"/>
                </a:solidFill>
              </a:rPr>
              <a:pPr/>
              <a:t>9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2C852723-8FB9-A408-4818-683E6E043F20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9855200" y="5519738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47E0D2-39B0-4E15-AD4F-84C2270B5064}" type="datetime'''1''''''''''''''''''''''''''''''''''''''''0''''''%'''''">
              <a:rPr lang="tr-TR" altLang="en-US" kern="1200" smtClean="0">
                <a:solidFill>
                  <a:schemeClr val="bg1"/>
                </a:solidFill>
              </a:rPr>
              <a:pPr/>
              <a:t>10%</a:t>
            </a:fld>
            <a:endParaRPr lang="tr-TR" kern="1200">
              <a:solidFill>
                <a:schemeClr val="bg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F383885-2383-3CDD-8753-28134366C8D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845675" y="59023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A6AF78-7ECD-4800-9F56-E33B22C77E86}" type="datetime'''''''''2''''''''''''''''0''2''''1''''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6DC1F13-D0DD-9BBB-F908-78DDC3218BD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93688" y="3840163"/>
            <a:ext cx="5556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C3FCD13-369D-4297-9069-8691907221FD}" type="datetime'''''''''Se''r''i''''''''e''''s'' ''''2''''''''''''''''''''''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eries 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7548B9C-1262-972C-27FE-B750D79D62B7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93688" y="5554663"/>
            <a:ext cx="5556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6ED9535-EAA5-48A3-91F6-1FCC9DD0F2BE}" type="datetime'''''''''''''''''''''''Ser''i''e''''''''s'''''''''''' ''3'">
              <a:rPr lang="tr-TR" altLang="en-US" kern="12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eries 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199A404E-7DB9-753B-FEA1-68DFCCD7D240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5957888" y="5556250"/>
            <a:ext cx="3571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EE3C3F-4F08-499B-AA00-C866FA371A07}" type="datetime'''''''1''''''''''''''''''''''''''1''%'''''''''''''''''''''">
              <a:rPr lang="tr-TR" altLang="en-US" kern="1200" smtClean="0">
                <a:solidFill>
                  <a:schemeClr val="bg1"/>
                </a:solidFill>
              </a:rPr>
              <a:pPr/>
              <a:t>11%</a:t>
            </a:fld>
            <a:endParaRPr lang="tr-TR" kern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606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5E891C-CBAB-7F40-F189-1B8919E36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71CF8A-CAF2-6EBA-5368-90434991C2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861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6" progId="TCLayout.ActiveDocument.1">
                  <p:embed/>
                </p:oleObj>
              </mc:Choice>
              <mc:Fallback>
                <p:oleObj name="think-cell Slide" r:id="rId2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71CF8A-CAF2-6EBA-5368-90434991C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AA2C03-77E5-E9FF-42FB-2456EE8F4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2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35F7C84-A014-E33B-109C-3353F85F911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15813"/>
              </p:ext>
            </p:extLst>
          </p:nvPr>
        </p:nvGraphicFramePr>
        <p:xfrm>
          <a:off x="896938" y="1154113"/>
          <a:ext cx="10307637" cy="4960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C5FA7D5-0E7B-A16C-9F4E-1ED6241A391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236200" y="2897188"/>
            <a:ext cx="0" cy="358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9375BB7-EDCC-42B2-18E8-C1FF9347782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286750" y="2897188"/>
            <a:ext cx="1949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7D80620-E2C9-0154-66BB-DEA9F949D7A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86750" y="28971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75A46FA-97AE-1D8E-9B01-48A3F291748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0800000">
            <a:off x="10774363" y="30702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875D970-3812-1F62-D9C4-AAC5859710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979488" y="3146425"/>
            <a:ext cx="9744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E9F1F75-4021-E92C-3FB5-3259B6E56D9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27952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8C4C45-3695-8C37-D5DF-7A406FD7B0F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54250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2FA9605-EB2E-6CD9-EE02-3C1527136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22738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398599D-315C-1B83-0AC7-A49EF39A88F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202113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17A7B25-7BDD-13B5-300B-66A0DCE222F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17683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ACAB09-F112-8BB0-41D7-61A6DB96892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151563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BFC80D0-9BA7-5A34-05AC-5195C5B084B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126288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3A26D38-7D44-3AB5-F264-76C525055AB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9942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6085410-C76B-EBD9-A398-9527CC61790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074150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44543A5-1D2D-7E42-A7E9-0194FAFF5FF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048875" y="5967413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371C815-064C-7820-BBDD-081A023339F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953750" y="3040063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267825C-0CA7-4FDA-96D3-4986B5B3A4AC}" type="datetime'''1''2'''''''''''''''''">
              <a:rPr lang="tr-TR" altLang="en-US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217962B5-07D1-A6BB-D924-2FCFE734D1B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916988" y="274637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-</a:t>
            </a:r>
            <a:fld id="{59FD62AF-C895-4B77-8BFB-5EA57B13B425}" type="datetime'''''''''7'''''''''''''',2''''''9%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7,29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0203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4DF1CA-B54C-D124-6945-B8B5B999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A0D5A41-EF8F-6BFD-C51C-F00BED654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50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25" imgH="426" progId="TCLayout.ActiveDocument.1">
                  <p:embed/>
                </p:oleObj>
              </mc:Choice>
              <mc:Fallback>
                <p:oleObj name="think-cell Slide" r:id="rId39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0D5A41-EF8F-6BFD-C51C-F00BED654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C1AABC-6CC5-02E9-F3DD-F4BFD4667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3 ihracat/ tüm ihracat</a:t>
            </a:r>
          </a:p>
        </p:txBody>
      </p:sp>
      <p:graphicFrame>
        <p:nvGraphicFramePr>
          <p:cNvPr id="169" name="Chart 168">
            <a:extLst>
              <a:ext uri="{FF2B5EF4-FFF2-40B4-BE49-F238E27FC236}">
                <a16:creationId xmlns:a16="http://schemas.microsoft.com/office/drawing/2014/main" id="{4A46F295-4B9B-49F8-1A97-37A31640E62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449557"/>
              </p:ext>
            </p:extLst>
          </p:nvPr>
        </p:nvGraphicFramePr>
        <p:xfrm>
          <a:off x="1066800" y="1052513"/>
          <a:ext cx="10515600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39BE704-5FFB-187F-5910-7F4F654B6F7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0602913" y="1501775"/>
            <a:ext cx="0" cy="2381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0858670-0D3D-06A7-E6EA-75749847BA4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612188" y="1501775"/>
            <a:ext cx="1990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F65613B-5AF8-3BA6-1A03-D7322B43DC9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12188" y="1501774"/>
            <a:ext cx="0" cy="198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963CB4EA-6FD1-6595-17B5-AD6C0AF3750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0800000">
            <a:off x="11509375" y="16176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F13D739-EF78-B566-CDE5-78E461F77BC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149350" y="1693863"/>
            <a:ext cx="9952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FA2D5528-DEEF-B2C1-6E84-9779BD3A847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45891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C58AB59-612A-7359-6DC7-B2BC85FBD01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45427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9F50942-6E48-65F3-53A8-70AB3D64670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44963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DB2F648-646E-5E64-2D72-28E258F690B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4500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C7DD847-AAF7-307F-362A-7587D75E94E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4403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D35223A-6CFD-4D47-AF31-AC8E6BD6DD9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4357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667CF5B-4640-ECB4-CA46-0BE16959D8D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42950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6BF7F31-E3E7-52EF-1D77-3505E28AD86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4248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AA8E9E9-8999-81A0-9424-068D977BF37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4202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787DA9C-0DA0-3301-B0C0-67576D5DD97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41558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829F8D0-B922-9926-7BF3-B89D3B2A784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688763" y="1587500"/>
            <a:ext cx="1809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758CF26-C04C-467A-A851-DC4031416A21}" type="datetime'''''''''''''''''''''''''''''''''1''''''''''9'''''''">
              <a:rPr lang="tr-TR" altLang="en-US" kern="1200" smtClean="0">
                <a:solidFill>
                  <a:schemeClr val="tx1"/>
                </a:solidFill>
              </a:rPr>
              <a:pPr/>
              <a:t>19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7F4AF3A-7808-79F4-BB30-459383D5E01A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263063" y="1350963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>
                <a:solidFill>
                  <a:schemeClr val="tx1"/>
                </a:solidFill>
                <a:effectLst/>
              </a:rPr>
              <a:t>-</a:t>
            </a:r>
            <a:fld id="{678BAE7F-D464-4A91-96CD-BDBA249FC7B0}" type="datetime'''''2'''',9''''''''''''''6''''''''''''''%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2,96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graphicFrame>
        <p:nvGraphicFramePr>
          <p:cNvPr id="177" name="Chart 176">
            <a:extLst>
              <a:ext uri="{FF2B5EF4-FFF2-40B4-BE49-F238E27FC236}">
                <a16:creationId xmlns:a16="http://schemas.microsoft.com/office/drawing/2014/main" id="{5DAD0565-F7CF-FA47-D6F3-818DD04B0AB6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955309803"/>
              </p:ext>
            </p:extLst>
          </p:nvPr>
        </p:nvGraphicFramePr>
        <p:xfrm>
          <a:off x="1066800" y="3579813"/>
          <a:ext cx="10515600" cy="2520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BF9F0F0-5E0E-3E90-6C04-8F40E74B573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10602913" y="5021263"/>
            <a:ext cx="0" cy="255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086B08D-D26E-5E0F-CAF9-066802FFF212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H="1">
            <a:off x="8612188" y="5021263"/>
            <a:ext cx="1990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12531E-8694-9309-02AB-DD489E08238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612188" y="50212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Arrow: Right 9">
            <a:extLst>
              <a:ext uri="{FF2B5EF4-FFF2-40B4-BE49-F238E27FC236}">
                <a16:creationId xmlns:a16="http://schemas.microsoft.com/office/drawing/2014/main" id="{A7665FFF-CB0F-D826-8274-2313E34C3E7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 rot="10800000">
            <a:off x="11239500" y="51403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4D0DF3A-A592-163F-99A6-C4F3F11AB575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49350" y="5216525"/>
            <a:ext cx="9952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703991E-76BA-0BD3-C28D-83BFD21E90C1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45891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57094-F0A5-40F7-9C37-191D26758A1A}" type="datetime'''2''''''''''''''''''''''''''''0''''''''''''''12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D23D93-1A2E-C2AD-71BF-5B05361FA0A3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45427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CB3C23-C844-4CBC-B494-C9B257EE554D}" type="datetime'''''''''''''''''''''20''1''''''''''''3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797DBF-984A-4D62-CB84-094F31E5CB8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44963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9D771D-8651-4AFA-B096-2BCF7EAB1CD9}" type="datetime'''''''''''''''''''''''''''''2''''''''''0''''''''''1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6E255B-F3F0-9F81-C4EC-FC4C8C15894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44500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CEE2AD-E184-4C0B-AFE7-EF5F687CFA6E}" type="datetime'''''''''''2''''''''''''''''''''''''''''''0''1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9A1B5B-61CE-47B0-3793-6CECC6B83F6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4403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D923C6-735B-4B42-9726-FCA503556A41}" type="datetime'''20''''''''''''''''''''''''''''''1''''''6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AC2EB3-1B3F-2C00-C036-5AAAA817EC9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4357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2C76F-2322-478C-B7B4-AF0F3E13ADE5}" type="datetime'''''''''''''''''''''''''''''''2''0''''1''''''''''''7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FB4F58-59F9-6476-C62F-1FAB78D9E1B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42950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4D03C-6354-4765-B1C4-89C1D398542E}" type="datetime'''''''2''''''''''''''''''''''''0''''''''''''''1''8''''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DF7D6A-323B-07E5-878B-2E9D0023DF2B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84248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3C5201-69CC-4C8E-8D2E-10E83DB3BE70}" type="datetime'''''''''2''0''''''''''''''1''''''''''''''''''9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B323DD-5B43-6402-CADA-089F87A996F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4202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1F9522-6FB2-4A20-874A-053EDB3D6808}" type="datetime'''''''''''''''''2''0''''''''''''''2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FCD7163-CB20-5ED9-3492-6AB049C86535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041558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C688BA-8D22-475A-9D58-F582636BC819}" type="datetime'''''202''''''''''''''''''''''''''''''''''''''''''''''''''''1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13BAE1-796D-B74D-B914-FF1A48EFFF69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1418888" y="5110163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D08D6AE-38B9-48A3-BF43-ADD77493B5A4}" type="datetime'''''''''''''''''''''''''''''''''''''6'''''''''''''''''">
              <a:rPr lang="tr-TR" altLang="en-US" kern="1200" smtClean="0">
                <a:solidFill>
                  <a:schemeClr val="tx1"/>
                </a:solidFill>
              </a:rPr>
              <a:pPr/>
              <a:t>6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6208E3D-24B5-F93B-F4E2-EE44827629A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199563" y="4870450"/>
            <a:ext cx="815975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>
                <a:solidFill>
                  <a:schemeClr val="tx1"/>
                </a:solidFill>
                <a:effectLst/>
              </a:rPr>
              <a:t>-</a:t>
            </a:r>
            <a:fld id="{F354F5DD-49E5-45C0-A4BA-D35A92DD7954}" type="datetime'''''''''''''''1''''''''''5'',''''2''6''''''''%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15,26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8A484EF9-59CF-D878-C91F-D608ABDBD66E}"/>
              </a:ext>
            </a:extLst>
          </p:cNvPr>
          <p:cNvSpPr/>
          <p:nvPr/>
        </p:nvSpPr>
        <p:spPr>
          <a:xfrm>
            <a:off x="355600" y="1332854"/>
            <a:ext cx="711199" cy="85948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hracat</a:t>
            </a:r>
          </a:p>
        </p:txBody>
      </p:sp>
    </p:spTree>
    <p:extLst>
      <p:ext uri="{BB962C8B-B14F-4D97-AF65-F5344CB8AC3E}">
        <p14:creationId xmlns:p14="http://schemas.microsoft.com/office/powerpoint/2010/main" val="515243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008C5-8A0A-3EC1-5143-E8938C261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8818FE0-F6D2-8128-546D-6E39D1DC2B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904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425" imgH="426" progId="TCLayout.ActiveDocument.1">
                  <p:embed/>
                </p:oleObj>
              </mc:Choice>
              <mc:Fallback>
                <p:oleObj name="think-cell Slide" r:id="rId67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18FE0-F6D2-8128-546D-6E39D1DC2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94C7DF-21F7-91E5-36CE-1826B474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3 </a:t>
            </a:r>
            <a:r>
              <a:rPr lang="tr-TR" dirty="0" err="1"/>
              <a:t>türkiyenin</a:t>
            </a:r>
            <a:r>
              <a:rPr lang="tr-TR" dirty="0"/>
              <a:t> durumu tüm ihracat artıyor mu?  Makyajını yap</a:t>
            </a:r>
          </a:p>
        </p:txBody>
      </p:sp>
      <p:graphicFrame>
        <p:nvGraphicFramePr>
          <p:cNvPr id="293" name="Chart 292">
            <a:extLst>
              <a:ext uri="{FF2B5EF4-FFF2-40B4-BE49-F238E27FC236}">
                <a16:creationId xmlns:a16="http://schemas.microsoft.com/office/drawing/2014/main" id="{7EFD1FBF-6214-2670-01DF-3095645F0A7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110271"/>
              </p:ext>
            </p:extLst>
          </p:nvPr>
        </p:nvGraphicFramePr>
        <p:xfrm>
          <a:off x="1066800" y="1176338"/>
          <a:ext cx="10117138" cy="1993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189" name="Rectangle 188">
            <a:extLst>
              <a:ext uri="{FF2B5EF4-FFF2-40B4-BE49-F238E27FC236}">
                <a16:creationId xmlns:a16="http://schemas.microsoft.com/office/drawing/2014/main" id="{C76CD896-0E1A-3D53-745B-F0D8E0C469A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1277600" y="29972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8A3E94-83DF-4553-A42A-768D7E4B12F7}" type="datetime'''''''''''''''''''''''''''0''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182C714-DFCC-74E1-51C2-72BFBFF2291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1277600" y="2632075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2A8B08-FA7C-4C80-B7A4-8706236CB95C}" type="datetime'''''''''''''''''''''5''''''''''''''''''''''''0''''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2D17B87C-81A7-4E09-84F8-A7B8608123C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1277600" y="22653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9F2527-DDB2-4517-AD6C-7DC367B0CDC1}" type="datetime'''1''''''''''''''0''''''''''''0''''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C970EE3-9902-FC13-75A5-0A04B78A3A9D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277600" y="19002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3DEF82-E476-43AC-9FEE-8D36E4FD0FFA}" type="datetime'''''''''''''''''1''''''''''''''''''50''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0265C5A-37E6-113F-F4BF-0077EE14495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277600" y="153352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84DB72-9A97-41C3-A378-36162D07D2D7}" type="datetime'2''''''''''''''''''''''''''''''''''''0''0''''''''''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71DB78E-4EF8-85CE-8D51-459202858AC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1277600" y="11684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97584F-971E-4801-9CC7-1D9F436E8F89}" type="datetime'''''''''''''''''''''2''''''''''''''''''''''50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 dirty="0">
              <a:solidFill>
                <a:schemeClr val="tx1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7C7B5E0-BFBA-5A9D-AA77-D1ACF0DBF9A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10602913" y="11906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D704EA1-5A9F-B95E-4162-5CE55657439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8612189" y="1190625"/>
            <a:ext cx="1990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FD1D3C8-EE05-89A3-ED51-23403129A4D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612188" y="1190624"/>
            <a:ext cx="0" cy="463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7D59A9A3-00EF-EA92-05E5-03C594F5F1D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 rot="10800000">
            <a:off x="11420475" y="17018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1B8AA56F-7C2A-92A3-6FEC-0F9B187F57E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149350" y="1778000"/>
            <a:ext cx="9952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F5842763-BD17-E9ED-BD9B-BD9C24B12B0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45891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D60B1-9D33-470D-A453-FB46CEF89626}" type="datetime'''''''''''2''''''''''0''''''''''''1''2''''''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9A30A6-EB71-631A-A532-DC1B142F9D4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45427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F38417-F8C5-477E-94A9-9C8E7585D701}" type="datetime'''''''''2''0''''''''''''1''''3''''''''''''''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753055-C5C9-41BA-6C9B-07CAE3C2555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44963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AE4C9F-7B0A-42E8-B6FD-03531D250A82}" type="datetime'''''''''''''''''2''0''''''''''''''''''''''''1''''4''''''''''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B91B6A7-24F4-21AE-5638-F5D957F40BC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44500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8B4F5-45C3-4034-807B-E9FC08973483}" type="datetime'''''201''''''''''''''''5''''''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2A7A726-9E0C-E2A6-E28E-C2D12119382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4403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4299D3-BEAC-4063-AE11-0895631E735B}" type="datetime'''2''0''''''''''1''''''''''''''''''''''''''''6''''''''''''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76FCE5C-FD68-2523-A93B-ED14B229FEF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4357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7CAE04-6B52-49FD-98DC-E649220250A3}" type="datetime'''''''''''''''''''2''''''''''''''0''''''''17''''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5A6DFE4-32B0-DB61-26A6-6079F6FF0F6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429500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34B6EB-06A1-4F8A-A8CC-B2B48B21C214}" type="datetime'''''''''''''''''2''''''''0''''''''''1''''''''''''''''8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548783-4FA3-D807-5501-548A7A753E0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424863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4C3347-7118-4BBA-BB99-167AF9A764BB}" type="datetime'''''''2''''''0''''''''1''''''''''''''''''''''''''''9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83F8E8F-1C49-F211-9DE4-8976BD0B71F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420225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2956-5A9B-4582-AF48-A2AFD7507AE6}" type="datetime'''''''''''''''''''''''''20''2''''''''''''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50E769E-FE86-3420-EC6C-7B5699ED759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415588" y="31464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3F43-EF0E-4FCD-AFCF-413E9DD651D8}" type="datetime'''''''''''''''''''''''''''''2''0''''2''''''''''''''''''1''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6E482385-6772-75BE-B6DE-3CE8B428F80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1599864" y="1671639"/>
            <a:ext cx="27146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FB1492B-2BE9-4D09-BCB7-45EB02171FFD}" type="datetime'''''''''''''''''1''''7''''9'''''''''''''''''''''''''''">
              <a:rPr lang="tr-TR" altLang="en-US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79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9FE0814-BC2A-C533-BFC5-BA6A8B44DC4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175749" y="1039813"/>
            <a:ext cx="86360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  <a:effectLst/>
              </a:rPr>
              <a:t>+</a:t>
            </a:r>
            <a:fld id="{33C8DAFB-3463-4753-8F91-9846DF61FDCC}" type="datetime'18,24''''''''''''%''''''''''''''''''''''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18,24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graphicFrame>
        <p:nvGraphicFramePr>
          <p:cNvPr id="282" name="Chart 281">
            <a:extLst>
              <a:ext uri="{FF2B5EF4-FFF2-40B4-BE49-F238E27FC236}">
                <a16:creationId xmlns:a16="http://schemas.microsoft.com/office/drawing/2014/main" id="{A3792F70-A281-2604-A877-0836E390D439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088429329"/>
              </p:ext>
            </p:extLst>
          </p:nvPr>
        </p:nvGraphicFramePr>
        <p:xfrm>
          <a:off x="1066800" y="3703638"/>
          <a:ext cx="10117138" cy="2273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247" name="Rectangle 246">
            <a:extLst>
              <a:ext uri="{FF2B5EF4-FFF2-40B4-BE49-F238E27FC236}">
                <a16:creationId xmlns:a16="http://schemas.microsoft.com/office/drawing/2014/main" id="{44A497C9-9A0F-9FCD-28AA-D30CC5DA1AEB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1277600" y="5381625"/>
            <a:ext cx="18097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650448-7800-4F57-B28F-4D81A6B28E39}" type="datetime'''''''''''''''''''''''''''''''''5''0'''">
              <a:rPr lang="tr-TR" altLang="en-US" kern="1200" smtClean="0">
                <a:solidFill>
                  <a:schemeClr val="tx1"/>
                </a:solidFill>
              </a:rPr>
              <a:pPr/>
              <a:t>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9B5B14ED-2D26-56ED-76F0-5573722F873A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1277600" y="5803900"/>
            <a:ext cx="90488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63A9E2-9C61-4F9F-A2DF-B63D7ACB67AD}" type="datetime'''''''''''''''''''''''0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B6FBCB18-B77E-1A83-005F-362BB0BCD146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11277601" y="3695700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A8796D-C979-4A73-8874-2E14F2E1D85E}" type="datetime'''''''''''''''''''''2''''''''''''''5''''0'''''''''''''">
              <a:rPr lang="tr-TR" altLang="en-US" kern="1200" smtClean="0">
                <a:solidFill>
                  <a:schemeClr val="tx1"/>
                </a:solidFill>
              </a:rPr>
              <a:pPr/>
              <a:t>250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80BEA3FB-5017-FC98-7A71-41C4CC9D5581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11277601" y="4117975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835339-284B-4CA5-B8E8-DE698E83A2D4}" type="datetime'''''''''''''''''''''''2''''''0''''''0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9319FBA3-6ACC-4F19-C7A1-06F9D76F5CEB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11277601" y="4538663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74EAA4-C551-4F43-92A0-0C87C501EF5F}" type="datetime'''''''''''''''''''''''1''''''''''5''''0'''''''''''''''">
              <a:rPr lang="tr-TR" altLang="en-US" kern="1200" smtClean="0">
                <a:solidFill>
                  <a:schemeClr val="tx1"/>
                </a:solidFill>
              </a:rPr>
              <a:pPr/>
              <a:t>15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EBD4604C-6BBF-A120-0FA7-FB2DB91E6CCC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1277601" y="4960938"/>
            <a:ext cx="2714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5BC042-C758-4E5A-879E-C80EE24DE135}" type="datetime'''''''''''''''''''''''''''''1''''0''''''''0'''''''''''">
              <a:rPr lang="tr-TR" altLang="en-US" kern="1200" smtClean="0">
                <a:solidFill>
                  <a:schemeClr val="tx1"/>
                </a:solidFill>
              </a:rPr>
              <a:pPr/>
              <a:t>100</a:t>
            </a:fld>
            <a:endParaRPr lang="tr-TR" kern="120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976A05-1CDE-B84A-0274-0E853EE30587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auto">
          <a:xfrm flipH="1">
            <a:off x="8612188" y="3392488"/>
            <a:ext cx="1990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036054-8716-B9B4-E7C6-A9D3B721CD7D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612188" y="3392488"/>
            <a:ext cx="0" cy="606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1533FBF-663A-6538-2E6F-ECBC8B01235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V="1">
            <a:off x="10602913" y="33924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D46FB74C-4A90-3684-7631-7F49DEDA40AA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4794249" y="4076700"/>
            <a:ext cx="673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E9318A59-269A-F262-4448-89AB440B5C6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5789613" y="4076700"/>
            <a:ext cx="1666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224756EA-C4E7-3136-B8E2-E860815CBC3F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778749" y="4076700"/>
            <a:ext cx="673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0DF03E0E-9BBE-7785-CE5B-BF5AFD14FED6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774112" y="4076700"/>
            <a:ext cx="6731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72908240-AD6D-E83C-37E4-E1C09A1E34A5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769475" y="4076700"/>
            <a:ext cx="13319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BD6FA32-8681-2CAB-3B2F-FF3E28B2681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 rot="10800000">
            <a:off x="11599863" y="40005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332A99-A9F2-BA99-5FD5-643042C45AD9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1149350" y="4076700"/>
            <a:ext cx="3365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448A5C8-8EBE-E789-C38E-0E7077AEE2AA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1808163" y="4076700"/>
            <a:ext cx="26638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9D5555A2-46DA-5F3C-551E-5624FF84D3A9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245427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CB3C23-C844-4CBC-B494-C9B257EE554D}" type="datetime'''''''''''''''''''''20''1''''''''''''3'''''''''''''">
              <a:rPr lang="tr-TR" altLang="en-US" kern="1200" smtClean="0">
                <a:solidFill>
                  <a:schemeClr val="tx1"/>
                </a:solidFill>
              </a:rPr>
              <a:pPr/>
              <a:t>201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9D5592-BF8E-5D18-70E3-12EB14B742A1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344963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9D771D-8651-4AFA-B096-2BCF7EAB1CD9}" type="datetime'''''''''''''''''''''''''''''2''''''''''0''''''''''14'">
              <a:rPr lang="tr-TR" altLang="en-US" kern="1200" smtClean="0">
                <a:solidFill>
                  <a:schemeClr val="tx1"/>
                </a:solidFill>
              </a:rPr>
              <a:pPr/>
              <a:t>201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E07A70-0384-4B03-06F6-C292D004509E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444500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CEE2AD-E184-4C0B-AFE7-EF5F687CFA6E}" type="datetime'''''''''''2''''''''''''''''''''''''''''''0''1''''5'''">
              <a:rPr lang="tr-TR" altLang="en-US" kern="1200" smtClean="0">
                <a:solidFill>
                  <a:schemeClr val="tx1"/>
                </a:solidFill>
              </a:rPr>
              <a:pPr/>
              <a:t>201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C46F6A-F602-7E71-ED51-52E7749576E3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4403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D923C6-735B-4B42-9726-FCA503556A41}" type="datetime'''20''''''''''''''''''''''''''''''1''''''6'">
              <a:rPr lang="tr-TR" altLang="en-US" kern="1200" smtClean="0">
                <a:solidFill>
                  <a:schemeClr val="tx1"/>
                </a:solidFill>
              </a:rPr>
              <a:pPr/>
              <a:t>201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7344C4-26EB-33B2-D4B4-0751DB29F233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64357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2C76F-2322-478C-B7B4-AF0F3E13ADE5}" type="datetime'''''''''''''''''''''''''''''''2''0''''1''''''''''''7'''''">
              <a:rPr lang="tr-TR" altLang="en-US" kern="1200" smtClean="0">
                <a:solidFill>
                  <a:schemeClr val="tx1"/>
                </a:solidFill>
              </a:rPr>
              <a:pPr/>
              <a:t>2017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B09460D-771F-F59E-9700-9F51C1B0761E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1779251" y="3970338"/>
            <a:ext cx="27146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93DEA03-64F3-44F5-8199-D7D07417E926}" type="datetime'''''2''1''6''''''''''''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216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D2B0EA9-7D55-D349-F6A8-3B90E5E21975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415588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C688BA-8D22-475A-9D58-F582636BC819}" type="datetime'''''202''''''''''''''''''''''''''''''''''''''''''''''''''''1'">
              <a:rPr lang="tr-TR" altLang="en-US" kern="1200" smtClean="0">
                <a:solidFill>
                  <a:schemeClr val="tx1"/>
                </a:solidFill>
              </a:rPr>
              <a:pPr/>
              <a:t>2021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868D60-8117-A546-100E-5598B2250F65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420225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1F9522-6FB2-4A20-874A-053EDB3D6808}" type="datetime'''''''''''''''''2''0''''''''''''''2''''0'''''''''''''">
              <a:rPr lang="tr-TR" altLang="en-US" kern="1200" smtClean="0">
                <a:solidFill>
                  <a:schemeClr val="tx1"/>
                </a:solidFill>
              </a:rPr>
              <a:pPr/>
              <a:t>202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78829A-8528-700A-1D81-A87AA8E45FCE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842486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3C5201-69CC-4C8E-8D2E-10E83DB3BE70}" type="datetime'''''''''2''0''''''''''''''1''''''''''''''''''9'''''''''''">
              <a:rPr lang="tr-TR" altLang="en-US" kern="1200" smtClean="0">
                <a:solidFill>
                  <a:schemeClr val="tx1"/>
                </a:solidFill>
              </a:rPr>
              <a:pPr/>
              <a:t>201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F6AD5C7-A638-D5C5-A363-318B328936AC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429500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4D03C-6354-4765-B1C4-89C1D398542E}" type="datetime'''''''2''''''''''''''''''''''''0''''''''''''''1''8'''''''">
              <a:rPr lang="tr-TR" altLang="en-US" kern="1200" smtClean="0">
                <a:solidFill>
                  <a:schemeClr val="tx1"/>
                </a:solidFill>
              </a:rPr>
              <a:pPr/>
              <a:t>201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73F1AA74-22C3-3020-1A26-24A3E9063A03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1485901" y="390366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4F1998-C0DF-43F9-92AD-82B33B6EB1A4}" type="datetime'''''''''''''''''2''''''''''''''1''''''''''0'''''''">
              <a:rPr lang="tr-TR" altLang="en-US" kern="1200" smtClean="0">
                <a:solidFill>
                  <a:schemeClr val="tx1"/>
                </a:solidFill>
              </a:rPr>
              <a:pPr/>
              <a:t>21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26B727E4-3C63-DFC9-8F37-BC56F281E908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2481264" y="3695700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AB29C9-3595-4E7F-B4AC-305F45B2A0B2}" type="datetime'''''''2''''''''''''''3''''''''''''''''''5'''''''''''''''''">
              <a:rPr lang="tr-TR" altLang="en-US" kern="1200" smtClean="0">
                <a:solidFill>
                  <a:schemeClr val="tx1"/>
                </a:solidFill>
              </a:rPr>
              <a:pPr/>
              <a:t>235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2C759D00-BB17-4971-2BF6-3F3749A4A8D5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3476626" y="37480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7F26904-F5F4-4256-8A2B-6D8E58C50C7C}" type="datetime'''''2''''''2''''''''''''''''''''''''''''''9'''''''''">
              <a:rPr lang="tr-TR" altLang="en-US" kern="1200" smtClean="0">
                <a:solidFill>
                  <a:schemeClr val="tx1"/>
                </a:solidFill>
              </a:rPr>
              <a:pPr/>
              <a:t>22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498D0B37-4CBB-D500-00C8-87C251FB97A9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4471989" y="39893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1398F9-EA9B-4C4A-A6E1-DCBA0B77A5BE}" type="datetime'''''''''''2''''0''0'''''''''''''''''''">
              <a:rPr lang="tr-TR" altLang="en-US" kern="1200" smtClean="0">
                <a:solidFill>
                  <a:schemeClr val="tx1"/>
                </a:solidFill>
              </a:rPr>
              <a:pPr/>
              <a:t>20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C4F9705D-F7B1-6D39-81E2-6A2666FB073A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5467351" y="4019550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C3E0B6-03BA-40B0-BCE7-ECC00BA218DF}" type="datetime'''1''''''''''''9''''''''''''''''''''''''6'">
              <a:rPr lang="tr-TR" altLang="en-US" kern="1200" smtClean="0">
                <a:solidFill>
                  <a:schemeClr val="tx1"/>
                </a:solidFill>
              </a:rPr>
              <a:pPr/>
              <a:t>196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60CCAE66-519E-BA03-23AD-DD1828C61347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462714" y="3800475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BD2A50-43F9-40F2-A7AF-802702723A90}" type="datetime'''''''''''''2''2''''''''3'''''''''''">
              <a:rPr lang="tr-TR" altLang="en-US" kern="1200" smtClean="0">
                <a:solidFill>
                  <a:schemeClr val="tx1"/>
                </a:solidFill>
              </a:rPr>
              <a:pPr/>
              <a:t>223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221B9884-EBDC-14CC-6949-009A3D891C5B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7456489" y="390366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5C1B318-B722-4815-A7C4-FEC651AE8C8C}" type="datetime'''''''''''2''''1''''''''''''''''''''''''0'''''''''''">
              <a:rPr lang="tr-TR" altLang="en-US" kern="1200" smtClean="0">
                <a:solidFill>
                  <a:schemeClr val="tx1"/>
                </a:solidFill>
              </a:rPr>
              <a:pPr/>
              <a:t>210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0D94AE4B-7DCC-95F8-3C53-5C5C3A66C1E2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8451851" y="4037013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36F4BF2-535B-4701-A6CE-FFF548B0F429}" type="datetime'''''''''''''19''4'''''''''''''''''''''''">
              <a:rPr lang="tr-TR" altLang="en-US" kern="1200" smtClean="0">
                <a:solidFill>
                  <a:schemeClr val="tx1"/>
                </a:solidFill>
              </a:rPr>
              <a:pPr/>
              <a:t>194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3F923C09-03ED-7224-CAEF-65EEEC72541F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9447214" y="39131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F336F8-9666-4B9D-B857-637986C95E7F}" type="datetime'''''''''''''''''''''''''''2''0''''''''''''''9'">
              <a:rPr lang="tr-TR" altLang="en-US" kern="1200" smtClean="0">
                <a:solidFill>
                  <a:schemeClr val="tx1"/>
                </a:solidFill>
              </a:rPr>
              <a:pPr/>
              <a:t>209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165C6966-3FE0-AEC8-8FA8-736D2AE85EE7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10442576" y="3582988"/>
            <a:ext cx="32226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6A200E9-7122-4359-BD70-D9C9943322D0}" type="datetime'''24''''''''''''''''''''''''''''''''''''''''''''''8'''''''''">
              <a:rPr lang="tr-TR" altLang="en-US" kern="1200" smtClean="0">
                <a:solidFill>
                  <a:schemeClr val="tx1"/>
                </a:solidFill>
              </a:rPr>
              <a:pPr/>
              <a:t>248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FC18C1-2C7A-7170-F8C9-E2477CDD3BE4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458913" y="5953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57094-F0A5-40F7-9C37-191D26758A1A}" type="datetime'''2''''''''''''''''''''''''''''0''''''''''''''12'''">
              <a:rPr lang="tr-TR" altLang="en-US" kern="1200" smtClean="0">
                <a:solidFill>
                  <a:schemeClr val="tx1"/>
                </a:solidFill>
              </a:rPr>
              <a:pPr/>
              <a:t>2012</a:t>
            </a:fld>
            <a:endParaRPr lang="tr-TR" kern="12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F957808-5E41-FE55-91EF-002E1676BB95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9237663" y="3241675"/>
            <a:ext cx="739775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3A8FED2-F19A-42FB-B2EF-B4554EB97FA3}" type="datetime'21'''''''''''''''''',''72''''''%''''''''''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21,72%</a:t>
            </a:fld>
            <a:endParaRPr lang="tr-TR" b="1" kern="1200" dirty="0">
              <a:solidFill>
                <a:schemeClr val="tx1"/>
              </a:solidFill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F6D1B44B-81B3-FB10-1130-25E1701DA79E}"/>
              </a:ext>
            </a:extLst>
          </p:cNvPr>
          <p:cNvSpPr/>
          <p:nvPr/>
        </p:nvSpPr>
        <p:spPr>
          <a:xfrm>
            <a:off x="355600" y="1332854"/>
            <a:ext cx="711199" cy="85948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hracat</a:t>
            </a:r>
          </a:p>
        </p:txBody>
      </p:sp>
    </p:spTree>
    <p:extLst>
      <p:ext uri="{BB962C8B-B14F-4D97-AF65-F5344CB8AC3E}">
        <p14:creationId xmlns:p14="http://schemas.microsoft.com/office/powerpoint/2010/main" val="4074781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66640A-03DA-7B9F-E794-8070D784E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418FDB3-68EC-E483-A5C7-C27EB9BEEE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18FDB3-68EC-E483-A5C7-C27EB9BEE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4C6A3F-5ECD-7E3D-5CEE-7C435460A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4 dünyada tekstil oranı</a:t>
            </a:r>
          </a:p>
        </p:txBody>
      </p:sp>
      <p:graphicFrame>
        <p:nvGraphicFramePr>
          <p:cNvPr id="169" name="Chart 168">
            <a:extLst>
              <a:ext uri="{FF2B5EF4-FFF2-40B4-BE49-F238E27FC236}">
                <a16:creationId xmlns:a16="http://schemas.microsoft.com/office/drawing/2014/main" id="{DFB48917-7568-E8E6-9D7E-9669A66785D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249852"/>
              </p:ext>
            </p:extLst>
          </p:nvPr>
        </p:nvGraphicFramePr>
        <p:xfrm>
          <a:off x="766763" y="1052513"/>
          <a:ext cx="10858500" cy="5330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C37EC03-2791-9D51-BF2D-AE023B3DC68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1101388" y="2681288"/>
            <a:ext cx="0" cy="1055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93A1725-89D2-C50C-61AF-C068F1B4A70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889999" y="2681288"/>
            <a:ext cx="22113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B05B057-4874-BB30-C991-47F6CA85AF9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90000" y="2681288"/>
            <a:ext cx="0" cy="331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AC014952-765E-58B1-8663-3CD96289C55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0800000">
            <a:off x="11152188" y="32242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CAB51130-A452-83CD-6FF4-1237A41290F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1149350" y="3300413"/>
            <a:ext cx="9952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4" name="Rectangle 283">
            <a:extLst>
              <a:ext uri="{FF2B5EF4-FFF2-40B4-BE49-F238E27FC236}">
                <a16:creationId xmlns:a16="http://schemas.microsoft.com/office/drawing/2014/main" id="{82637249-2F31-9DE2-D26C-5975CF7ED98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1331575" y="3194050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A9BCC9D-FD62-4691-A03F-0F8729E00D3B}" type="datetime'''7''''''''''''''''''''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7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7B8B239-5D7F-0E8A-BD39-D3FB333FA21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650413" y="253047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</a:rPr>
              <a:t>-</a:t>
            </a:r>
            <a:fld id="{0E61E542-E444-4B59-A687-44B70125A4AA}" type="datetime'''''''''''''''''''''''''''''''''''''''''6,9''''1''''''''''''%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6,91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446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F7FA57-679C-8D83-BAF8-4B4395B3C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908067-76D3-DB92-2C9F-4A82BAF44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623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08067-76D3-DB92-2C9F-4A82BAF44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5BAC77-4AE8-6536-1152-C5E4BECFE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5 ülkelere inelim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D71A5DBC-89FC-9A3B-4441-32C04151502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806586"/>
              </p:ext>
            </p:extLst>
          </p:nvPr>
        </p:nvGraphicFramePr>
        <p:xfrm>
          <a:off x="766763" y="1052513"/>
          <a:ext cx="10858500" cy="5330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29EBC6F-AB8C-972B-A9C7-FB4A2CB750B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1101388" y="2681288"/>
            <a:ext cx="0" cy="1055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E41F7A6-03B8-F9D7-B8BC-248F54FA369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889999" y="2681288"/>
            <a:ext cx="22113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FCEAE6E-3675-18CB-889F-52D16A37EBB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90000" y="2681288"/>
            <a:ext cx="0" cy="331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5" name="Arrow: Right 284">
            <a:extLst>
              <a:ext uri="{FF2B5EF4-FFF2-40B4-BE49-F238E27FC236}">
                <a16:creationId xmlns:a16="http://schemas.microsoft.com/office/drawing/2014/main" id="{8C0BB641-79AD-4BF5-6B43-BE1EACAB9EE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10800000">
            <a:off x="11152188" y="32242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05FDE294-E797-0E10-9777-07BA8CB463D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1149350" y="3300413"/>
            <a:ext cx="99520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4" name="Rectangle 283">
            <a:extLst>
              <a:ext uri="{FF2B5EF4-FFF2-40B4-BE49-F238E27FC236}">
                <a16:creationId xmlns:a16="http://schemas.microsoft.com/office/drawing/2014/main" id="{0825CC96-D08C-AAA9-945D-632143B7C0A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1331575" y="3194050"/>
            <a:ext cx="9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A9BCC9D-FD62-4691-A03F-0F8729E00D3B}" type="datetime'''7'''''''''''''''''''''''''''''''''''''''''''''''''''''">
              <a:rPr lang="tr-TR" altLang="en-US" kern="1200" smtClean="0">
                <a:solidFill>
                  <a:schemeClr val="tx1"/>
                </a:solidFill>
              </a:rPr>
              <a:pPr/>
              <a:t>7</a:t>
            </a:fld>
            <a:endParaRPr lang="tr-TR" kern="1200" dirty="0">
              <a:solidFill>
                <a:schemeClr val="tx1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4DB1DCBF-B2A5-6BB0-E160-A9BB16BF9B2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650413" y="2530475"/>
            <a:ext cx="690563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altLang="en-US" b="1" kern="1200" dirty="0">
                <a:solidFill>
                  <a:schemeClr val="tx1"/>
                </a:solidFill>
              </a:rPr>
              <a:t>-</a:t>
            </a:r>
            <a:fld id="{0E61E542-E444-4B59-A687-44B70125A4AA}" type="datetime'''''''''''''''''''''''''''''''''''''''''6,9''''1''''''''''''%'">
              <a:rPr lang="tr-TR" altLang="en-US" b="1" kern="1200" smtClean="0">
                <a:solidFill>
                  <a:schemeClr val="tx1"/>
                </a:solidFill>
                <a:effectLst/>
              </a:rPr>
              <a:pPr/>
              <a:t>6,91%</a:t>
            </a:fld>
            <a:endParaRPr lang="tr-TR" b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973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VHirG.6Cz9Zp6l.Wtk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nMf7mjT4VZjHZEJz7W3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zfZ7dmIDKhyz5KPxy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u0HGI6LQhvXIcShBjg0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1efbhGra5_PxdB0cTns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reDMKC_Rz1sLCExaA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yRJk9f05VneUxAEiwr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h..2n4voXEjhslVdXh0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pK.9Evj7cp4c7xlje2H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YWPL.0VYdrbFnPEpf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X8ko2ieoMY9Pa5n9ST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PznU4V1vL4fcoZYqga8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L_HJdugnF04h_NCwdE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0_h6czwxbV6cgKPFu_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4jU5rC_4unPNYm7FFg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yRbM2RRj68MYuyv1rDE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LmgCzFvMVeLU54z2n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zWTvEW5vhINowfczGj3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so3dSnwWucmhemGYOg2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OyGXNTAJCC1umtz5b2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q1XMEMUOpZRqxoPw8l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7K2GR0jkqAYOKrZ2Aw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nMuwJosEW7X3ci02Oe4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B8mKeI84B3bCDyuF6AZ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cq578OBG23kDk8VFX9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PqxVkfePFG271N9qt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GUh9pocVFBdjUTakzO.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ARcxo3fZGbyx0r7eTF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5yqyFBb8fbnFn1LmuHS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mEijK45VJom.JATJdP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3pAKqFnOiwpZkUwzX8X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jZvKr_jbAJl9ozjdqO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7TMyhPGXkxPuDn4Vks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OplooLJqEOSqUf8xV.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TkHX.Ty1wBun38Lz2se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0tUeLmeXE8ih6.ywEH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WcH6cPM9HqJte5haKmv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VBXubOL6EQrGynDaZMi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uMfDmCMp37wN5njFzHg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1oEcIyYqvxTv1tgZ9jT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eNSubMUDv5l1c11gGcO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SbARKZaExZELFzNmK1N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h2YQjW7xNLmxRb8zo7I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_IRRzKN88.JDGZN7ZhB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HTzZ2QKC1t3.9rPo6eF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wIIFIcbZrxZT6DqlNW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8Xkx32GorRt6qxpNs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Zj8Pj09OVdFiT0pIu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wwDbgsiushhMyRG3.j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BP87oUV7.vWku7N3i1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QxS7bwUvGeEVatmrep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pxmJsp6k5HaFIF4Oqf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yS5dofP87ETBqdqmqu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N5_a8K.K_urWNLRZzn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3qDm5ShNX2CW51PcsI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px9r2dOxEZ7kVG6jU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eXtRhEMihplyDOHJDg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A.QmON2zyLDmCTFL3Y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7l5Fq3BaD4iBQ3C3e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0T2eCyoCWCmhXO2_Co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48bMiJoLhiSewFm1MM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5SgU1K61ERFihA6yWT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hV4OOa9o7e2Ia8DQ.T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l90wKkIYmMCLK_HNW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Neb870Me7ceMJqkX.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RmRZgMZ2SnFMYPF.K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TLOIx_6mHtLqBhnn6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kvn4zJk.phqd85eEIZ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JFne05a09488U6EPuA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1DPjCA8zxpNEG4kTAt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GR8q5j9g8gyZq0Jq8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KYGIz2c7i3goNm.12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Jvdp5anfdzU7XsPgM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aXzLBFSIK3PzvVfnI7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VgiObZgsMBPTa.tTV1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LrZNo47I1iJULosmz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ndLgrbSRDD.ooGEj7w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KteLpoji4O1UWuns1n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flnEcdaUDXsvZuM8hD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7JnU8ZHYEtdO7yszra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VC2cVbjQzaHWvcoUQ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9FZixthsFKRzvxkINE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pP373byl.A2hxUu61J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7reDMKC_Rz1sLCExa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4jU5rC_4unPNYm7FFg5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L_HJdugnF04h_NCwd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s6PSou_HaJYbCvgv3r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F0_h6czwxbV6cgKPFu_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v7K2GR0jkqAYOKrZ2Aw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nMuwJosEW7X3ci02Oe4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wIIFIcbZrxZT6DqlN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cq578OBG23kDk8VFX9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PqxVkfePFG271N9qt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GUh9pocVFBdjUTakzO.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ARcxo3fZGbyx0r7eTF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5yqyFBb8fbnFn1LmuH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vOplooLJqEOSqUf8xV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Zf_62ki8drmpKKMw4r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7TMyhPGXkxPuDn4Vk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jZvKr_jbAJl9ozjdqO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3pAKqFnOiwpZkUwzX8X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mEijK45VJom.JATJdP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8Xkx32GorRt6qxpNs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VQEvEvBFM37nLJCGFS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CBa6BGZyqcUfimcEzjl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l5kXhfDjNBzST8ijCK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sd_tubvhcm892ZMwKsg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Calibri Light (Headings)"/>
        <a:ea typeface=""/>
        <a:cs typeface=""/>
      </a:majorFont>
      <a:minorFont>
        <a:latin typeface="Calibri Light (Headings)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05</TotalTime>
  <Words>185</Words>
  <Application>Microsoft Office PowerPoint</Application>
  <PresentationFormat>Widescreen</PresentationFormat>
  <Paragraphs>134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Calibri</vt:lpstr>
      <vt:lpstr>Proxima Nova</vt:lpstr>
      <vt:lpstr>Arial</vt:lpstr>
      <vt:lpstr>Office Theme</vt:lpstr>
      <vt:lpstr>think-cell Slide</vt:lpstr>
      <vt:lpstr>Tüketici elektroniği pazar yeri stratejik değerlendirme</vt:lpstr>
      <vt:lpstr>PowerPoint Presentation</vt:lpstr>
      <vt:lpstr>2</vt:lpstr>
      <vt:lpstr>2</vt:lpstr>
      <vt:lpstr>3 ihracat/ tüm ihracat</vt:lpstr>
      <vt:lpstr>3 türkiyenin durumu tüm ihracat artıyor mu?  Makyajını yap</vt:lpstr>
      <vt:lpstr>4 dünyada tekstil oranı</vt:lpstr>
      <vt:lpstr>5 ülkelere inelim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Batuhan Yelseli</dc:creator>
  <cp:lastModifiedBy>Oğuz Öztekin</cp:lastModifiedBy>
  <cp:revision>50</cp:revision>
  <dcterms:created xsi:type="dcterms:W3CDTF">2006-08-16T00:00:00Z</dcterms:created>
  <dcterms:modified xsi:type="dcterms:W3CDTF">2024-12-16T11:49:30Z</dcterms:modified>
</cp:coreProperties>
</file>